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media/image3.bin" ContentType="image/x-emf"/>
  <Override PartName="/ppt/theme/theme3.xml" ContentType="application/vnd.openxmlformats-officedocument.theme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931" r:id="rId1"/>
    <p:sldMasterId id="2147485196" r:id="rId2"/>
  </p:sldMasterIdLst>
  <p:notesMasterIdLst>
    <p:notesMasterId r:id="rId20"/>
  </p:notesMasterIdLst>
  <p:handoutMasterIdLst>
    <p:handoutMasterId r:id="rId21"/>
  </p:handoutMasterIdLst>
  <p:sldIdLst>
    <p:sldId id="436" r:id="rId3"/>
    <p:sldId id="437" r:id="rId4"/>
    <p:sldId id="438" r:id="rId5"/>
    <p:sldId id="439" r:id="rId6"/>
    <p:sldId id="440" r:id="rId7"/>
    <p:sldId id="443" r:id="rId8"/>
    <p:sldId id="442" r:id="rId9"/>
    <p:sldId id="444" r:id="rId10"/>
    <p:sldId id="445" r:id="rId11"/>
    <p:sldId id="446" r:id="rId12"/>
    <p:sldId id="257" r:id="rId13"/>
    <p:sldId id="275" r:id="rId14"/>
    <p:sldId id="276" r:id="rId15"/>
    <p:sldId id="278" r:id="rId16"/>
    <p:sldId id="441" r:id="rId17"/>
    <p:sldId id="447" r:id="rId18"/>
    <p:sldId id="448" r:id="rId19"/>
  </p:sldIdLst>
  <p:sldSz cx="9144000" cy="6858000" type="screen4x3"/>
  <p:notesSz cx="6797675" cy="9926638"/>
  <p:defaultTextStyle>
    <a:defPPr>
      <a:defRPr lang="da-DK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C3300"/>
    <a:srgbClr val="0033CC"/>
    <a:srgbClr val="00CC99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Ingen typografi, tabelgit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0"/>
    <p:restoredTop sz="92789" autoAdjust="0"/>
  </p:normalViewPr>
  <p:slideViewPr>
    <p:cSldViewPr>
      <p:cViewPr varScale="1">
        <p:scale>
          <a:sx n="106" d="100"/>
          <a:sy n="106" d="100"/>
        </p:scale>
        <p:origin x="176" y="44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08B6A6-42DF-4E59-8724-8C6787ECA65D}" type="doc">
      <dgm:prSet loTypeId="urn:microsoft.com/office/officeart/2005/8/layout/orgChart1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a-DK"/>
        </a:p>
      </dgm:t>
    </dgm:pt>
    <dgm:pt modelId="{5F770CB0-36E1-4C80-9B90-BF00B8A33D33}">
      <dgm:prSet phldrT="[Tekst]" custT="1"/>
      <dgm:spPr/>
      <dgm:t>
        <a:bodyPr/>
        <a:lstStyle/>
        <a:p>
          <a:pPr rtl="0"/>
          <a:r>
            <a:rPr lang="da-DK" sz="1000" b="1" dirty="0">
              <a:solidFill>
                <a:schemeClr val="tx1"/>
              </a:solidFill>
            </a:rPr>
            <a:t>Fakultetssekretariat</a:t>
          </a:r>
          <a:r>
            <a:rPr lang="da-DK" sz="1000" dirty="0">
              <a:latin typeface="Arial"/>
            </a:rPr>
            <a:t> </a:t>
          </a:r>
          <a:r>
            <a:rPr lang="da-DK" sz="1000" dirty="0"/>
            <a:t> </a:t>
          </a:r>
        </a:p>
        <a:p>
          <a:pPr rtl="0"/>
          <a:r>
            <a:rPr lang="da-DK" sz="1000" dirty="0"/>
            <a:t>Strategisk udvikling Samskabelse</a:t>
          </a:r>
        </a:p>
      </dgm:t>
    </dgm:pt>
    <dgm:pt modelId="{8E282487-21E8-48F5-A108-A20E639DDCD4}" type="parTrans" cxnId="{6C8C8F3C-D409-44C3-9158-F6263DE32ABF}">
      <dgm:prSet/>
      <dgm:spPr/>
      <dgm:t>
        <a:bodyPr/>
        <a:lstStyle/>
        <a:p>
          <a:endParaRPr lang="da-DK"/>
        </a:p>
      </dgm:t>
    </dgm:pt>
    <dgm:pt modelId="{C0DBA9A3-768D-4DE3-B35E-013D0CFC9ED8}" type="sibTrans" cxnId="{6C8C8F3C-D409-44C3-9158-F6263DE32ABF}">
      <dgm:prSet/>
      <dgm:spPr/>
      <dgm:t>
        <a:bodyPr/>
        <a:lstStyle/>
        <a:p>
          <a:endParaRPr lang="da-DK"/>
        </a:p>
      </dgm:t>
    </dgm:pt>
    <dgm:pt modelId="{01D7250C-591A-4F06-9D25-405769F19ED3}">
      <dgm:prSet phldrT="[Tekst]" custT="1"/>
      <dgm:spPr/>
      <dgm:t>
        <a:bodyPr/>
        <a:lstStyle/>
        <a:p>
          <a:pPr>
            <a:lnSpc>
              <a:spcPct val="100000"/>
            </a:lnSpc>
          </a:pPr>
          <a:r>
            <a:rPr lang="da-DK" sz="1000" b="1" dirty="0">
              <a:solidFill>
                <a:schemeClr val="tx1"/>
              </a:solidFill>
            </a:rPr>
            <a:t>Eksterne relationer </a:t>
          </a:r>
          <a:r>
            <a:rPr lang="da-DK" sz="1000" dirty="0"/>
            <a:t>Forskerstøtte Myndighedsbetjening Virksomhedssamarbejder</a:t>
          </a:r>
        </a:p>
      </dgm:t>
    </dgm:pt>
    <dgm:pt modelId="{6DB5F40A-650D-4A38-8783-40CAFD6040CF}" type="parTrans" cxnId="{341759C4-CEB1-426C-972B-90B91217F7BF}">
      <dgm:prSet/>
      <dgm:spPr/>
      <dgm:t>
        <a:bodyPr/>
        <a:lstStyle/>
        <a:p>
          <a:endParaRPr lang="da-DK"/>
        </a:p>
      </dgm:t>
    </dgm:pt>
    <dgm:pt modelId="{7D4D054F-D063-439E-8353-1F1E6F84B639}" type="sibTrans" cxnId="{341759C4-CEB1-426C-972B-90B91217F7BF}">
      <dgm:prSet/>
      <dgm:spPr/>
      <dgm:t>
        <a:bodyPr/>
        <a:lstStyle/>
        <a:p>
          <a:endParaRPr lang="da-DK"/>
        </a:p>
      </dgm:t>
    </dgm:pt>
    <dgm:pt modelId="{941F97A6-61D8-4A00-B595-B90EA8A7CD40}">
      <dgm:prSet phldrT="[Tekst]" custT="1"/>
      <dgm:spPr/>
      <dgm:t>
        <a:bodyPr/>
        <a:lstStyle/>
        <a:p>
          <a:pPr rtl="0"/>
          <a:r>
            <a:rPr lang="da-DK" sz="1000" b="1" dirty="0">
              <a:solidFill>
                <a:schemeClr val="tx1"/>
              </a:solidFill>
            </a:rPr>
            <a:t>Økonomi</a:t>
          </a:r>
          <a:r>
            <a:rPr lang="da-DK" sz="1000" b="1" dirty="0">
              <a:solidFill>
                <a:schemeClr val="tx1"/>
              </a:solidFill>
              <a:latin typeface="Arial"/>
            </a:rPr>
            <a:t> </a:t>
          </a:r>
          <a:endParaRPr lang="da-DK" sz="1000" b="1" dirty="0">
            <a:solidFill>
              <a:schemeClr val="tx1"/>
            </a:solidFill>
          </a:endParaRPr>
        </a:p>
        <a:p>
          <a:pPr rtl="0"/>
          <a:r>
            <a:rPr lang="da-DK" sz="1000" dirty="0"/>
            <a:t>Ordinær</a:t>
          </a:r>
          <a:r>
            <a:rPr lang="da-DK" sz="1000" dirty="0">
              <a:latin typeface="Arial"/>
            </a:rPr>
            <a:t> </a:t>
          </a:r>
          <a:endParaRPr lang="da-DK" sz="1000" dirty="0"/>
        </a:p>
        <a:p>
          <a:r>
            <a:rPr lang="da-DK" sz="1000" dirty="0"/>
            <a:t>Indkøb</a:t>
          </a:r>
        </a:p>
      </dgm:t>
    </dgm:pt>
    <dgm:pt modelId="{D97722DA-102F-468E-8DC5-57C12E1A988F}" type="parTrans" cxnId="{D8AD75D2-B980-48A1-AE62-797E5D8D5B31}">
      <dgm:prSet/>
      <dgm:spPr/>
      <dgm:t>
        <a:bodyPr/>
        <a:lstStyle/>
        <a:p>
          <a:endParaRPr lang="da-DK"/>
        </a:p>
      </dgm:t>
    </dgm:pt>
    <dgm:pt modelId="{A38A17E4-E101-4DFB-83AE-74B4690AF3C2}" type="sibTrans" cxnId="{D8AD75D2-B980-48A1-AE62-797E5D8D5B31}">
      <dgm:prSet/>
      <dgm:spPr/>
      <dgm:t>
        <a:bodyPr/>
        <a:lstStyle/>
        <a:p>
          <a:endParaRPr lang="da-DK"/>
        </a:p>
      </dgm:t>
    </dgm:pt>
    <dgm:pt modelId="{5C7A0844-D62E-46F7-8692-CDFB76B49370}">
      <dgm:prSet phldrT="[Tekst]" custT="1"/>
      <dgm:spPr/>
      <dgm:t>
        <a:bodyPr/>
        <a:lstStyle/>
        <a:p>
          <a:pPr rtl="0">
            <a:lnSpc>
              <a:spcPct val="100000"/>
            </a:lnSpc>
          </a:pPr>
          <a:r>
            <a:rPr lang="da-DK" sz="1000" b="1" dirty="0">
              <a:solidFill>
                <a:schemeClr val="tx1"/>
              </a:solidFill>
            </a:rPr>
            <a:t>Studie</a:t>
          </a:r>
        </a:p>
        <a:p>
          <a:pPr rtl="0">
            <a:lnSpc>
              <a:spcPct val="100000"/>
            </a:lnSpc>
          </a:pPr>
          <a:r>
            <a:rPr lang="da-DK" sz="1000" dirty="0"/>
            <a:t>Studienævn </a:t>
          </a:r>
        </a:p>
        <a:p>
          <a:pPr rtl="0">
            <a:lnSpc>
              <a:spcPct val="100000"/>
            </a:lnSpc>
          </a:pPr>
          <a:r>
            <a:rPr lang="da-DK" sz="1000" dirty="0" err="1"/>
            <a:t>Studieadm</a:t>
          </a:r>
          <a:endParaRPr lang="da-DK" sz="1000" dirty="0">
            <a:latin typeface="Arial"/>
          </a:endParaRPr>
        </a:p>
        <a:p>
          <a:pPr rtl="0">
            <a:lnSpc>
              <a:spcPct val="100000"/>
            </a:lnSpc>
          </a:pPr>
          <a:r>
            <a:rPr lang="da-DK" sz="1000" dirty="0"/>
            <a:t> </a:t>
          </a:r>
          <a:r>
            <a:rPr lang="da-DK" sz="1000" dirty="0" err="1"/>
            <a:t>Studievejl</a:t>
          </a:r>
          <a:endParaRPr lang="da-DK" sz="1000" dirty="0"/>
        </a:p>
        <a:p>
          <a:pPr rtl="0">
            <a:lnSpc>
              <a:spcPct val="100000"/>
            </a:lnSpc>
          </a:pPr>
          <a:r>
            <a:rPr lang="da-DK" sz="1000" dirty="0"/>
            <a:t>E-læring</a:t>
          </a:r>
          <a:r>
            <a:rPr lang="da-DK" sz="1000" dirty="0">
              <a:latin typeface="Arial"/>
            </a:rPr>
            <a:t> </a:t>
          </a:r>
          <a:endParaRPr lang="da-DK" sz="1000" dirty="0"/>
        </a:p>
      </dgm:t>
    </dgm:pt>
    <dgm:pt modelId="{05F99E4B-349E-4C97-ABFC-CC3568076291}" type="parTrans" cxnId="{B855F5FB-D660-4239-B9E1-D4E084FB3531}">
      <dgm:prSet/>
      <dgm:spPr/>
      <dgm:t>
        <a:bodyPr/>
        <a:lstStyle/>
        <a:p>
          <a:endParaRPr lang="da-DK"/>
        </a:p>
      </dgm:t>
    </dgm:pt>
    <dgm:pt modelId="{D79A8A8F-0FA2-4D85-AFB4-CBBA19888FA1}" type="sibTrans" cxnId="{B855F5FB-D660-4239-B9E1-D4E084FB3531}">
      <dgm:prSet/>
      <dgm:spPr/>
      <dgm:t>
        <a:bodyPr/>
        <a:lstStyle/>
        <a:p>
          <a:endParaRPr lang="da-DK"/>
        </a:p>
      </dgm:t>
    </dgm:pt>
    <dgm:pt modelId="{6B64506A-236E-42EA-96F8-D043BE8532E6}">
      <dgm:prSet phldrT="[Tekst]" custT="1"/>
      <dgm:spPr/>
      <dgm:t>
        <a:bodyPr/>
        <a:lstStyle/>
        <a:p>
          <a:pPr rtl="0">
            <a:lnSpc>
              <a:spcPct val="100000"/>
            </a:lnSpc>
          </a:pPr>
          <a:r>
            <a:rPr lang="da-DK" sz="1000" b="1" dirty="0">
              <a:solidFill>
                <a:schemeClr val="tx1"/>
              </a:solidFill>
            </a:rPr>
            <a:t>Kommunikation</a:t>
          </a:r>
        </a:p>
        <a:p>
          <a:pPr rtl="0">
            <a:lnSpc>
              <a:spcPct val="100000"/>
            </a:lnSpc>
          </a:pPr>
          <a:r>
            <a:rPr lang="da-DK" sz="1000" dirty="0"/>
            <a:t> Markedsføring</a:t>
          </a:r>
        </a:p>
        <a:p>
          <a:pPr rtl="0">
            <a:lnSpc>
              <a:spcPct val="100000"/>
            </a:lnSpc>
          </a:pPr>
          <a:r>
            <a:rPr lang="da-DK" sz="1000" dirty="0" err="1"/>
            <a:t>Outreach</a:t>
          </a:r>
          <a:r>
            <a:rPr lang="da-DK" sz="1000" dirty="0"/>
            <a:t> </a:t>
          </a:r>
        </a:p>
        <a:p>
          <a:pPr rtl="0">
            <a:lnSpc>
              <a:spcPct val="100000"/>
            </a:lnSpc>
          </a:pPr>
          <a:r>
            <a:rPr lang="da-DK" sz="1000" dirty="0"/>
            <a:t>Forskningsformidling</a:t>
          </a:r>
        </a:p>
        <a:p>
          <a:pPr rtl="0">
            <a:lnSpc>
              <a:spcPct val="100000"/>
            </a:lnSpc>
          </a:pPr>
          <a:r>
            <a:rPr lang="da-DK" sz="1000" dirty="0"/>
            <a:t>Web</a:t>
          </a:r>
        </a:p>
      </dgm:t>
    </dgm:pt>
    <dgm:pt modelId="{19E6F88B-E4D3-436D-95F5-0041F5D6F2AD}" type="parTrans" cxnId="{29AD8D7E-FA53-43C4-A7C6-08C4F99AABAB}">
      <dgm:prSet/>
      <dgm:spPr/>
      <dgm:t>
        <a:bodyPr/>
        <a:lstStyle/>
        <a:p>
          <a:endParaRPr lang="da-DK"/>
        </a:p>
      </dgm:t>
    </dgm:pt>
    <dgm:pt modelId="{5D8B1042-A393-4B0C-B371-9E0D5DD13966}" type="sibTrans" cxnId="{29AD8D7E-FA53-43C4-A7C6-08C4F99AABAB}">
      <dgm:prSet/>
      <dgm:spPr/>
      <dgm:t>
        <a:bodyPr/>
        <a:lstStyle/>
        <a:p>
          <a:endParaRPr lang="da-DK"/>
        </a:p>
      </dgm:t>
    </dgm:pt>
    <dgm:pt modelId="{ED2761F0-B3B2-45D2-9A16-4981747FFC78}" type="asst">
      <dgm:prSet phldrT="[Tekst]" custT="1"/>
      <dgm:spPr/>
      <dgm:t>
        <a:bodyPr/>
        <a:lstStyle/>
        <a:p>
          <a:pPr rtl="0"/>
          <a:r>
            <a:rPr lang="da-DK" sz="1000" b="1" dirty="0">
              <a:solidFill>
                <a:schemeClr val="tx1"/>
              </a:solidFill>
            </a:rPr>
            <a:t>Dekanat</a:t>
          </a:r>
          <a:r>
            <a:rPr lang="da-DK" sz="1000" dirty="0"/>
            <a:t> </a:t>
          </a:r>
        </a:p>
        <a:p>
          <a:pPr rtl="0"/>
          <a:r>
            <a:rPr lang="da-DK" sz="1000" dirty="0"/>
            <a:t>Ledelsesbetjening</a:t>
          </a:r>
          <a:r>
            <a:rPr lang="da-DK" sz="1000" dirty="0">
              <a:latin typeface="Arial"/>
            </a:rPr>
            <a:t> </a:t>
          </a:r>
          <a:endParaRPr lang="da-DK" sz="1000" dirty="0"/>
        </a:p>
        <a:p>
          <a:r>
            <a:rPr lang="da-DK" sz="1000" dirty="0"/>
            <a:t>Ph.d.</a:t>
          </a:r>
          <a:endParaRPr lang="da-DK" sz="1000" b="0" dirty="0">
            <a:solidFill>
              <a:schemeClr val="bg1"/>
            </a:solidFill>
          </a:endParaRPr>
        </a:p>
      </dgm:t>
    </dgm:pt>
    <dgm:pt modelId="{EB4D8493-AE90-41EA-8620-2750847AE2B3}" type="parTrans" cxnId="{25FE061B-C94B-43BC-B8B6-9AF635DC024F}">
      <dgm:prSet/>
      <dgm:spPr/>
      <dgm:t>
        <a:bodyPr/>
        <a:lstStyle/>
        <a:p>
          <a:endParaRPr lang="da-DK"/>
        </a:p>
      </dgm:t>
    </dgm:pt>
    <dgm:pt modelId="{A8E8D935-9C58-40BA-9666-C9023BD005C6}" type="sibTrans" cxnId="{25FE061B-C94B-43BC-B8B6-9AF635DC024F}">
      <dgm:prSet/>
      <dgm:spPr/>
      <dgm:t>
        <a:bodyPr/>
        <a:lstStyle/>
        <a:p>
          <a:endParaRPr lang="da-DK"/>
        </a:p>
      </dgm:t>
    </dgm:pt>
    <dgm:pt modelId="{79D87D85-42DC-4776-9545-C952404ABB83}">
      <dgm:prSet custT="1"/>
      <dgm:spPr/>
      <dgm:t>
        <a:bodyPr/>
        <a:lstStyle/>
        <a:p>
          <a:pPr>
            <a:lnSpc>
              <a:spcPct val="100000"/>
            </a:lnSpc>
          </a:pPr>
          <a:r>
            <a:rPr lang="da-DK" sz="1000" b="1" dirty="0">
              <a:solidFill>
                <a:srgbClr val="000000"/>
              </a:solidFill>
            </a:rPr>
            <a:t>Ekstern økonomi</a:t>
          </a:r>
        </a:p>
        <a:p>
          <a:pPr>
            <a:lnSpc>
              <a:spcPct val="100000"/>
            </a:lnSpc>
          </a:pPr>
          <a:r>
            <a:rPr lang="da-DK" sz="1000" b="1" dirty="0">
              <a:solidFill>
                <a:srgbClr val="000000"/>
              </a:solidFill>
            </a:rPr>
            <a:t> </a:t>
          </a:r>
          <a:r>
            <a:rPr lang="da-DK" sz="1000" dirty="0" err="1">
              <a:solidFill>
                <a:srgbClr val="FFFFFF"/>
              </a:solidFill>
            </a:rPr>
            <a:t>Postaward</a:t>
          </a:r>
          <a:endParaRPr lang="da-DK" sz="1000" dirty="0">
            <a:solidFill>
              <a:srgbClr val="FFFFFF"/>
            </a:solidFill>
          </a:endParaRPr>
        </a:p>
        <a:p>
          <a:pPr>
            <a:lnSpc>
              <a:spcPct val="100000"/>
            </a:lnSpc>
          </a:pPr>
          <a:r>
            <a:rPr lang="da-DK" sz="1000" dirty="0">
              <a:latin typeface="Arial"/>
            </a:rPr>
            <a:t>Budgetter</a:t>
          </a:r>
          <a:r>
            <a:rPr lang="da-DK" sz="1000" dirty="0"/>
            <a:t> </a:t>
          </a:r>
        </a:p>
        <a:p>
          <a:pPr>
            <a:lnSpc>
              <a:spcPct val="100000"/>
            </a:lnSpc>
          </a:pPr>
          <a:r>
            <a:rPr lang="da-DK" sz="1000" dirty="0"/>
            <a:t>SDU Pro</a:t>
          </a:r>
        </a:p>
      </dgm:t>
    </dgm:pt>
    <dgm:pt modelId="{177429F1-893B-4C76-A39F-E0BFA6219E32}" type="parTrans" cxnId="{7C8A7A60-3706-4AA0-BCA8-A6BA37141706}">
      <dgm:prSet/>
      <dgm:spPr/>
      <dgm:t>
        <a:bodyPr/>
        <a:lstStyle/>
        <a:p>
          <a:endParaRPr lang="da-DK"/>
        </a:p>
      </dgm:t>
    </dgm:pt>
    <dgm:pt modelId="{39BDFD5E-3655-4B74-8CEB-877619C14CA0}" type="sibTrans" cxnId="{7C8A7A60-3706-4AA0-BCA8-A6BA37141706}">
      <dgm:prSet/>
      <dgm:spPr/>
      <dgm:t>
        <a:bodyPr/>
        <a:lstStyle/>
        <a:p>
          <a:endParaRPr lang="da-DK"/>
        </a:p>
      </dgm:t>
    </dgm:pt>
    <dgm:pt modelId="{77C83D92-BCD8-49C3-AA1D-D8EE4B9F08CC}">
      <dgm:prSet phldrT="[Tekst]" custT="1"/>
      <dgm:spPr/>
      <dgm:t>
        <a:bodyPr/>
        <a:lstStyle/>
        <a:p>
          <a:r>
            <a:rPr lang="da-DK" sz="1000" b="1" dirty="0">
              <a:solidFill>
                <a:srgbClr val="000000"/>
              </a:solidFill>
            </a:rPr>
            <a:t>Dekan</a:t>
          </a:r>
        </a:p>
        <a:p>
          <a:r>
            <a:rPr lang="da-DK" sz="1000" b="0" dirty="0">
              <a:solidFill>
                <a:schemeClr val="bg1"/>
              </a:solidFill>
            </a:rPr>
            <a:t>NAT</a:t>
          </a:r>
        </a:p>
      </dgm:t>
    </dgm:pt>
    <dgm:pt modelId="{C399F123-42ED-4E4C-8079-E4728C355F44}" type="parTrans" cxnId="{57708629-500A-4EA6-860B-792DCDFEFC99}">
      <dgm:prSet/>
      <dgm:spPr/>
      <dgm:t>
        <a:bodyPr/>
        <a:lstStyle/>
        <a:p>
          <a:endParaRPr lang="da-DK"/>
        </a:p>
      </dgm:t>
    </dgm:pt>
    <dgm:pt modelId="{C55356BB-65C9-4E03-A893-0A2CD4E926F6}" type="sibTrans" cxnId="{57708629-500A-4EA6-860B-792DCDFEFC99}">
      <dgm:prSet/>
      <dgm:spPr/>
      <dgm:t>
        <a:bodyPr/>
        <a:lstStyle/>
        <a:p>
          <a:endParaRPr lang="da-DK"/>
        </a:p>
      </dgm:t>
    </dgm:pt>
    <dgm:pt modelId="{83E08D30-EA90-4F0B-923D-5C71AE077121}" type="asst">
      <dgm:prSet custT="1"/>
      <dgm:spPr/>
      <dgm:t>
        <a:bodyPr/>
        <a:lstStyle/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da-DK" sz="1000" b="1" dirty="0">
              <a:solidFill>
                <a:srgbClr val="000000"/>
              </a:solidFill>
            </a:rPr>
            <a:t>Fysisk planlægning</a:t>
          </a:r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da-DK" sz="1000" dirty="0"/>
            <a:t>Planlægning</a:t>
          </a:r>
        </a:p>
        <a:p>
          <a:pPr marL="0" marR="0" lvl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da-DK" sz="1000" dirty="0"/>
            <a:t>Koordinering </a:t>
          </a:r>
        </a:p>
      </dgm:t>
    </dgm:pt>
    <dgm:pt modelId="{F5C37E61-B28B-4779-B67F-FAAE09BC7994}" type="parTrans" cxnId="{67E3EBAE-43B5-4D0B-BC3E-36387713D97A}">
      <dgm:prSet/>
      <dgm:spPr/>
      <dgm:t>
        <a:bodyPr/>
        <a:lstStyle/>
        <a:p>
          <a:endParaRPr lang="da-DK"/>
        </a:p>
      </dgm:t>
    </dgm:pt>
    <dgm:pt modelId="{34513BD4-594F-4E4A-9A97-E93F131A2A01}" type="sibTrans" cxnId="{67E3EBAE-43B5-4D0B-BC3E-36387713D97A}">
      <dgm:prSet/>
      <dgm:spPr/>
      <dgm:t>
        <a:bodyPr/>
        <a:lstStyle/>
        <a:p>
          <a:endParaRPr lang="da-DK"/>
        </a:p>
      </dgm:t>
    </dgm:pt>
    <dgm:pt modelId="{C485B1D8-F3B5-4064-96C4-B0FEA363111F}" type="pres">
      <dgm:prSet presAssocID="{7908B6A6-42DF-4E59-8724-8C6787ECA65D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BDA0A9AD-33B0-4E32-8B7C-417B0F5FA510}" type="pres">
      <dgm:prSet presAssocID="{77C83D92-BCD8-49C3-AA1D-D8EE4B9F08CC}" presName="hierRoot1" presStyleCnt="0">
        <dgm:presLayoutVars>
          <dgm:hierBranch val="init"/>
        </dgm:presLayoutVars>
      </dgm:prSet>
      <dgm:spPr/>
    </dgm:pt>
    <dgm:pt modelId="{082D2651-D9E3-4F7C-BE3B-C3E80DD7D57C}" type="pres">
      <dgm:prSet presAssocID="{77C83D92-BCD8-49C3-AA1D-D8EE4B9F08CC}" presName="rootComposite1" presStyleCnt="0"/>
      <dgm:spPr/>
    </dgm:pt>
    <dgm:pt modelId="{9E1A80C7-D23C-493E-8105-51D7FCD8E6FA}" type="pres">
      <dgm:prSet presAssocID="{77C83D92-BCD8-49C3-AA1D-D8EE4B9F08CC}" presName="rootText1" presStyleLbl="node0" presStyleIdx="0" presStyleCnt="2" custLinFactX="24983" custLinFactY="-17553" custLinFactNeighborX="100000" custLinFactNeighborY="-100000">
        <dgm:presLayoutVars>
          <dgm:chPref val="3"/>
        </dgm:presLayoutVars>
      </dgm:prSet>
      <dgm:spPr/>
    </dgm:pt>
    <dgm:pt modelId="{3B1BD513-2F0A-48DA-B76E-1100432BFEB0}" type="pres">
      <dgm:prSet presAssocID="{77C83D92-BCD8-49C3-AA1D-D8EE4B9F08CC}" presName="rootConnector1" presStyleLbl="node1" presStyleIdx="0" presStyleCnt="0"/>
      <dgm:spPr/>
    </dgm:pt>
    <dgm:pt modelId="{A94FE744-72C2-4A12-A63E-4DAB7E8D4884}" type="pres">
      <dgm:prSet presAssocID="{77C83D92-BCD8-49C3-AA1D-D8EE4B9F08CC}" presName="hierChild2" presStyleCnt="0"/>
      <dgm:spPr/>
    </dgm:pt>
    <dgm:pt modelId="{20B161F1-6658-49F3-92DC-BAF6E7363A3A}" type="pres">
      <dgm:prSet presAssocID="{77C83D92-BCD8-49C3-AA1D-D8EE4B9F08CC}" presName="hierChild3" presStyleCnt="0"/>
      <dgm:spPr/>
    </dgm:pt>
    <dgm:pt modelId="{20651C4C-222A-44C8-9C66-F7FAA52281F0}" type="pres">
      <dgm:prSet presAssocID="{F5C37E61-B28B-4779-B67F-FAAE09BC7994}" presName="Name111" presStyleLbl="parChTrans1D2" presStyleIdx="0" presStyleCnt="7"/>
      <dgm:spPr/>
    </dgm:pt>
    <dgm:pt modelId="{87609666-65FD-4B0A-B1CB-F2D1E03E0EE5}" type="pres">
      <dgm:prSet presAssocID="{83E08D30-EA90-4F0B-923D-5C71AE077121}" presName="hierRoot3" presStyleCnt="0">
        <dgm:presLayoutVars>
          <dgm:hierBranch val="init"/>
        </dgm:presLayoutVars>
      </dgm:prSet>
      <dgm:spPr/>
    </dgm:pt>
    <dgm:pt modelId="{562CCFF2-5020-4E50-B868-07A2ECE98A57}" type="pres">
      <dgm:prSet presAssocID="{83E08D30-EA90-4F0B-923D-5C71AE077121}" presName="rootComposite3" presStyleCnt="0"/>
      <dgm:spPr/>
    </dgm:pt>
    <dgm:pt modelId="{61165860-A574-4F55-B351-E752237F626A}" type="pres">
      <dgm:prSet presAssocID="{83E08D30-EA90-4F0B-923D-5C71AE077121}" presName="rootText3" presStyleLbl="asst1" presStyleIdx="0" presStyleCnt="2" custLinFactX="155078" custLinFactY="-100000" custLinFactNeighborX="200000" custLinFactNeighborY="-101587">
        <dgm:presLayoutVars>
          <dgm:chPref val="3"/>
        </dgm:presLayoutVars>
      </dgm:prSet>
      <dgm:spPr/>
    </dgm:pt>
    <dgm:pt modelId="{219960F8-65EB-4E25-83AF-C49B5B4EA218}" type="pres">
      <dgm:prSet presAssocID="{83E08D30-EA90-4F0B-923D-5C71AE077121}" presName="rootConnector3" presStyleLbl="asst1" presStyleIdx="0" presStyleCnt="2"/>
      <dgm:spPr/>
    </dgm:pt>
    <dgm:pt modelId="{05398138-4DF4-4437-A031-BD007673DE69}" type="pres">
      <dgm:prSet presAssocID="{83E08D30-EA90-4F0B-923D-5C71AE077121}" presName="hierChild6" presStyleCnt="0"/>
      <dgm:spPr/>
    </dgm:pt>
    <dgm:pt modelId="{B2A7BFC2-D49B-468A-B34F-1FFD505D8564}" type="pres">
      <dgm:prSet presAssocID="{83E08D30-EA90-4F0B-923D-5C71AE077121}" presName="hierChild7" presStyleCnt="0"/>
      <dgm:spPr/>
    </dgm:pt>
    <dgm:pt modelId="{3F95F10C-A28F-4780-81D4-0FE7F2E065DB}" type="pres">
      <dgm:prSet presAssocID="{5F770CB0-36E1-4C80-9B90-BF00B8A33D33}" presName="hierRoot1" presStyleCnt="0">
        <dgm:presLayoutVars>
          <dgm:hierBranch val="init"/>
        </dgm:presLayoutVars>
      </dgm:prSet>
      <dgm:spPr/>
    </dgm:pt>
    <dgm:pt modelId="{20A0241A-92D7-4818-975E-1F07AB1D0F5A}" type="pres">
      <dgm:prSet presAssocID="{5F770CB0-36E1-4C80-9B90-BF00B8A33D33}" presName="rootComposite1" presStyleCnt="0"/>
      <dgm:spPr/>
    </dgm:pt>
    <dgm:pt modelId="{3EED2246-B988-4C0D-B551-3654E62951EC}" type="pres">
      <dgm:prSet presAssocID="{5F770CB0-36E1-4C80-9B90-BF00B8A33D33}" presName="rootText1" presStyleLbl="node0" presStyleIdx="1" presStyleCnt="2" custLinFactNeighborX="654" custLinFactNeighborY="-1621">
        <dgm:presLayoutVars>
          <dgm:chPref val="3"/>
        </dgm:presLayoutVars>
      </dgm:prSet>
      <dgm:spPr/>
    </dgm:pt>
    <dgm:pt modelId="{3FE846EF-72E0-4F19-BD3B-A0A69F74024C}" type="pres">
      <dgm:prSet presAssocID="{5F770CB0-36E1-4C80-9B90-BF00B8A33D33}" presName="rootConnector1" presStyleLbl="node1" presStyleIdx="0" presStyleCnt="0"/>
      <dgm:spPr/>
    </dgm:pt>
    <dgm:pt modelId="{A2B70F22-C361-4ADB-9975-0545E33EC0F2}" type="pres">
      <dgm:prSet presAssocID="{5F770CB0-36E1-4C80-9B90-BF00B8A33D33}" presName="hierChild2" presStyleCnt="0"/>
      <dgm:spPr/>
    </dgm:pt>
    <dgm:pt modelId="{55651238-A75E-439B-B8BC-515A37F28039}" type="pres">
      <dgm:prSet presAssocID="{6DB5F40A-650D-4A38-8783-40CAFD6040CF}" presName="Name37" presStyleLbl="parChTrans1D2" presStyleIdx="1" presStyleCnt="7"/>
      <dgm:spPr/>
    </dgm:pt>
    <dgm:pt modelId="{3DC6DEE1-6D44-4623-8A1A-B49BEEA7984F}" type="pres">
      <dgm:prSet presAssocID="{01D7250C-591A-4F06-9D25-405769F19ED3}" presName="hierRoot2" presStyleCnt="0">
        <dgm:presLayoutVars>
          <dgm:hierBranch val="init"/>
        </dgm:presLayoutVars>
      </dgm:prSet>
      <dgm:spPr/>
    </dgm:pt>
    <dgm:pt modelId="{B769C679-44C6-4071-AB08-0EE2FA206180}" type="pres">
      <dgm:prSet presAssocID="{01D7250C-591A-4F06-9D25-405769F19ED3}" presName="rootComposite" presStyleCnt="0"/>
      <dgm:spPr/>
    </dgm:pt>
    <dgm:pt modelId="{9940BD2E-D6A6-4A0D-AB7D-31A1A23128C1}" type="pres">
      <dgm:prSet presAssocID="{01D7250C-591A-4F06-9D25-405769F19ED3}" presName="rootText" presStyleLbl="node2" presStyleIdx="0" presStyleCnt="5" custLinFactNeighborX="1444" custLinFactNeighborY="2807">
        <dgm:presLayoutVars>
          <dgm:chPref val="3"/>
        </dgm:presLayoutVars>
      </dgm:prSet>
      <dgm:spPr/>
    </dgm:pt>
    <dgm:pt modelId="{E78450A3-23FB-4407-BD35-25FDBD8F1EC6}" type="pres">
      <dgm:prSet presAssocID="{01D7250C-591A-4F06-9D25-405769F19ED3}" presName="rootConnector" presStyleLbl="node2" presStyleIdx="0" presStyleCnt="5"/>
      <dgm:spPr/>
    </dgm:pt>
    <dgm:pt modelId="{B9D75B06-FE85-41D4-AFB4-0B79119A9B33}" type="pres">
      <dgm:prSet presAssocID="{01D7250C-591A-4F06-9D25-405769F19ED3}" presName="hierChild4" presStyleCnt="0"/>
      <dgm:spPr/>
    </dgm:pt>
    <dgm:pt modelId="{F9E195AA-3E0D-4D8E-9758-0CCB813ED3B6}" type="pres">
      <dgm:prSet presAssocID="{01D7250C-591A-4F06-9D25-405769F19ED3}" presName="hierChild5" presStyleCnt="0"/>
      <dgm:spPr/>
    </dgm:pt>
    <dgm:pt modelId="{710F8147-BF4E-434E-8E6E-1C68C4257AEB}" type="pres">
      <dgm:prSet presAssocID="{177429F1-893B-4C76-A39F-E0BFA6219E32}" presName="Name37" presStyleLbl="parChTrans1D2" presStyleIdx="2" presStyleCnt="7"/>
      <dgm:spPr/>
    </dgm:pt>
    <dgm:pt modelId="{61558002-A1C4-41F4-8200-D5850E4ECAB4}" type="pres">
      <dgm:prSet presAssocID="{79D87D85-42DC-4776-9545-C952404ABB83}" presName="hierRoot2" presStyleCnt="0">
        <dgm:presLayoutVars>
          <dgm:hierBranch val="init"/>
        </dgm:presLayoutVars>
      </dgm:prSet>
      <dgm:spPr/>
    </dgm:pt>
    <dgm:pt modelId="{7CF34AE0-0B55-4632-9F0C-557DD68C2D31}" type="pres">
      <dgm:prSet presAssocID="{79D87D85-42DC-4776-9545-C952404ABB83}" presName="rootComposite" presStyleCnt="0"/>
      <dgm:spPr/>
    </dgm:pt>
    <dgm:pt modelId="{8D97B4B7-C573-473D-9F13-2D9E19A6D742}" type="pres">
      <dgm:prSet presAssocID="{79D87D85-42DC-4776-9545-C952404ABB83}" presName="rootText" presStyleLbl="node2" presStyleIdx="1" presStyleCnt="5" custLinFactNeighborX="2653" custLinFactNeighborY="2711">
        <dgm:presLayoutVars>
          <dgm:chPref val="3"/>
        </dgm:presLayoutVars>
      </dgm:prSet>
      <dgm:spPr/>
    </dgm:pt>
    <dgm:pt modelId="{28A3B558-7564-40DE-BC37-A480844E04BE}" type="pres">
      <dgm:prSet presAssocID="{79D87D85-42DC-4776-9545-C952404ABB83}" presName="rootConnector" presStyleLbl="node2" presStyleIdx="1" presStyleCnt="5"/>
      <dgm:spPr/>
    </dgm:pt>
    <dgm:pt modelId="{5C30109C-6A64-47EF-BE79-D2CD6A640167}" type="pres">
      <dgm:prSet presAssocID="{79D87D85-42DC-4776-9545-C952404ABB83}" presName="hierChild4" presStyleCnt="0"/>
      <dgm:spPr/>
    </dgm:pt>
    <dgm:pt modelId="{5593BBAC-45DA-4A42-A745-5628650A2FBC}" type="pres">
      <dgm:prSet presAssocID="{79D87D85-42DC-4776-9545-C952404ABB83}" presName="hierChild5" presStyleCnt="0"/>
      <dgm:spPr/>
    </dgm:pt>
    <dgm:pt modelId="{0CE2B19A-8961-4768-A69B-2AE52A0EA7EA}" type="pres">
      <dgm:prSet presAssocID="{D97722DA-102F-468E-8DC5-57C12E1A988F}" presName="Name37" presStyleLbl="parChTrans1D2" presStyleIdx="3" presStyleCnt="7"/>
      <dgm:spPr/>
    </dgm:pt>
    <dgm:pt modelId="{6565CA1A-78A4-441D-A676-4ABE2F575762}" type="pres">
      <dgm:prSet presAssocID="{941F97A6-61D8-4A00-B595-B90EA8A7CD40}" presName="hierRoot2" presStyleCnt="0">
        <dgm:presLayoutVars>
          <dgm:hierBranch val="init"/>
        </dgm:presLayoutVars>
      </dgm:prSet>
      <dgm:spPr/>
    </dgm:pt>
    <dgm:pt modelId="{199CB54C-AF87-448A-B514-83F7A6934BAD}" type="pres">
      <dgm:prSet presAssocID="{941F97A6-61D8-4A00-B595-B90EA8A7CD40}" presName="rootComposite" presStyleCnt="0"/>
      <dgm:spPr/>
    </dgm:pt>
    <dgm:pt modelId="{95D13192-9FEE-489A-8538-624BEC65C90E}" type="pres">
      <dgm:prSet presAssocID="{941F97A6-61D8-4A00-B595-B90EA8A7CD40}" presName="rootText" presStyleLbl="node2" presStyleIdx="2" presStyleCnt="5" custLinFactNeighborX="653" custLinFactNeighborY="1374">
        <dgm:presLayoutVars>
          <dgm:chPref val="3"/>
        </dgm:presLayoutVars>
      </dgm:prSet>
      <dgm:spPr/>
    </dgm:pt>
    <dgm:pt modelId="{4FFD53E3-BD89-42EF-A31A-12B212EDC57F}" type="pres">
      <dgm:prSet presAssocID="{941F97A6-61D8-4A00-B595-B90EA8A7CD40}" presName="rootConnector" presStyleLbl="node2" presStyleIdx="2" presStyleCnt="5"/>
      <dgm:spPr/>
    </dgm:pt>
    <dgm:pt modelId="{25A34937-3AC7-4B16-934F-A18731A481AB}" type="pres">
      <dgm:prSet presAssocID="{941F97A6-61D8-4A00-B595-B90EA8A7CD40}" presName="hierChild4" presStyleCnt="0"/>
      <dgm:spPr/>
    </dgm:pt>
    <dgm:pt modelId="{2A8AAA20-6802-4586-A07A-C6E903668852}" type="pres">
      <dgm:prSet presAssocID="{941F97A6-61D8-4A00-B595-B90EA8A7CD40}" presName="hierChild5" presStyleCnt="0"/>
      <dgm:spPr/>
    </dgm:pt>
    <dgm:pt modelId="{72BFF4D6-0881-4DF4-80E2-D284036AA51F}" type="pres">
      <dgm:prSet presAssocID="{05F99E4B-349E-4C97-ABFC-CC3568076291}" presName="Name37" presStyleLbl="parChTrans1D2" presStyleIdx="4" presStyleCnt="7"/>
      <dgm:spPr/>
    </dgm:pt>
    <dgm:pt modelId="{E1431DA2-A3F3-412D-8EA0-AE722D8AE801}" type="pres">
      <dgm:prSet presAssocID="{5C7A0844-D62E-46F7-8692-CDFB76B49370}" presName="hierRoot2" presStyleCnt="0">
        <dgm:presLayoutVars>
          <dgm:hierBranch val="init"/>
        </dgm:presLayoutVars>
      </dgm:prSet>
      <dgm:spPr/>
    </dgm:pt>
    <dgm:pt modelId="{635D4310-784F-4252-AA51-DA81FD5F5166}" type="pres">
      <dgm:prSet presAssocID="{5C7A0844-D62E-46F7-8692-CDFB76B49370}" presName="rootComposite" presStyleCnt="0"/>
      <dgm:spPr/>
    </dgm:pt>
    <dgm:pt modelId="{F8FE08BC-72D2-4ED2-939C-53438E9F7459}" type="pres">
      <dgm:prSet presAssocID="{5C7A0844-D62E-46F7-8692-CDFB76B49370}" presName="rootText" presStyleLbl="node2" presStyleIdx="3" presStyleCnt="5" custLinFactNeighborX="-377" custLinFactNeighborY="2090">
        <dgm:presLayoutVars>
          <dgm:chPref val="3"/>
        </dgm:presLayoutVars>
      </dgm:prSet>
      <dgm:spPr/>
    </dgm:pt>
    <dgm:pt modelId="{5519BE10-6E71-40C4-9515-974D45EFA8E5}" type="pres">
      <dgm:prSet presAssocID="{5C7A0844-D62E-46F7-8692-CDFB76B49370}" presName="rootConnector" presStyleLbl="node2" presStyleIdx="3" presStyleCnt="5"/>
      <dgm:spPr/>
    </dgm:pt>
    <dgm:pt modelId="{7B2BCC08-1842-4094-AB24-2BDEC31EEF0A}" type="pres">
      <dgm:prSet presAssocID="{5C7A0844-D62E-46F7-8692-CDFB76B49370}" presName="hierChild4" presStyleCnt="0"/>
      <dgm:spPr/>
    </dgm:pt>
    <dgm:pt modelId="{D5E84335-9BFC-4C11-9B4A-5A9C72476378}" type="pres">
      <dgm:prSet presAssocID="{5C7A0844-D62E-46F7-8692-CDFB76B49370}" presName="hierChild5" presStyleCnt="0"/>
      <dgm:spPr/>
    </dgm:pt>
    <dgm:pt modelId="{311D4758-9DC2-4D6D-92E9-39E1892B6DBB}" type="pres">
      <dgm:prSet presAssocID="{19E6F88B-E4D3-436D-95F5-0041F5D6F2AD}" presName="Name37" presStyleLbl="parChTrans1D2" presStyleIdx="5" presStyleCnt="7"/>
      <dgm:spPr/>
    </dgm:pt>
    <dgm:pt modelId="{EC9DF2E2-3756-4082-A186-E83565444814}" type="pres">
      <dgm:prSet presAssocID="{6B64506A-236E-42EA-96F8-D043BE8532E6}" presName="hierRoot2" presStyleCnt="0">
        <dgm:presLayoutVars>
          <dgm:hierBranch val="init"/>
        </dgm:presLayoutVars>
      </dgm:prSet>
      <dgm:spPr/>
    </dgm:pt>
    <dgm:pt modelId="{765A2E93-38CA-452F-AB53-1EE81B5E02FD}" type="pres">
      <dgm:prSet presAssocID="{6B64506A-236E-42EA-96F8-D043BE8532E6}" presName="rootComposite" presStyleCnt="0"/>
      <dgm:spPr/>
    </dgm:pt>
    <dgm:pt modelId="{B45C14BB-1B61-47E1-99E9-CE93721E7CC2}" type="pres">
      <dgm:prSet presAssocID="{6B64506A-236E-42EA-96F8-D043BE8532E6}" presName="rootText" presStyleLbl="node2" presStyleIdx="4" presStyleCnt="5" custLinFactNeighborX="46054" custLinFactNeighborY="2807">
        <dgm:presLayoutVars>
          <dgm:chPref val="3"/>
        </dgm:presLayoutVars>
      </dgm:prSet>
      <dgm:spPr/>
    </dgm:pt>
    <dgm:pt modelId="{D66C6941-C9CE-4A14-9535-B7E553A9F7C3}" type="pres">
      <dgm:prSet presAssocID="{6B64506A-236E-42EA-96F8-D043BE8532E6}" presName="rootConnector" presStyleLbl="node2" presStyleIdx="4" presStyleCnt="5"/>
      <dgm:spPr/>
    </dgm:pt>
    <dgm:pt modelId="{C8C232FD-DB65-4C2F-A10D-B1EE94116D2D}" type="pres">
      <dgm:prSet presAssocID="{6B64506A-236E-42EA-96F8-D043BE8532E6}" presName="hierChild4" presStyleCnt="0"/>
      <dgm:spPr/>
    </dgm:pt>
    <dgm:pt modelId="{E84A5D7D-C2F9-4EC5-863B-1BCE7878555F}" type="pres">
      <dgm:prSet presAssocID="{6B64506A-236E-42EA-96F8-D043BE8532E6}" presName="hierChild5" presStyleCnt="0"/>
      <dgm:spPr/>
    </dgm:pt>
    <dgm:pt modelId="{61921BC4-7B8C-4B13-B5FC-BE25F5DE295A}" type="pres">
      <dgm:prSet presAssocID="{5F770CB0-36E1-4C80-9B90-BF00B8A33D33}" presName="hierChild3" presStyleCnt="0"/>
      <dgm:spPr/>
    </dgm:pt>
    <dgm:pt modelId="{F74DE3A7-0E75-4216-BF74-2D5BC1F03D95}" type="pres">
      <dgm:prSet presAssocID="{EB4D8493-AE90-41EA-8620-2750847AE2B3}" presName="Name111" presStyleLbl="parChTrans1D2" presStyleIdx="6" presStyleCnt="7"/>
      <dgm:spPr/>
    </dgm:pt>
    <dgm:pt modelId="{3AB20BA5-C0E8-4DC6-829E-3AD65BD01C2B}" type="pres">
      <dgm:prSet presAssocID="{ED2761F0-B3B2-45D2-9A16-4981747FFC78}" presName="hierRoot3" presStyleCnt="0">
        <dgm:presLayoutVars>
          <dgm:hierBranch val="init"/>
        </dgm:presLayoutVars>
      </dgm:prSet>
      <dgm:spPr/>
    </dgm:pt>
    <dgm:pt modelId="{A2B802F9-873C-4375-AE1C-BECA49B618A3}" type="pres">
      <dgm:prSet presAssocID="{ED2761F0-B3B2-45D2-9A16-4981747FFC78}" presName="rootComposite3" presStyleCnt="0"/>
      <dgm:spPr/>
    </dgm:pt>
    <dgm:pt modelId="{A2A5EF0A-FF0B-4312-81A0-2741BD68FBAE}" type="pres">
      <dgm:prSet presAssocID="{ED2761F0-B3B2-45D2-9A16-4981747FFC78}" presName="rootText3" presStyleLbl="asst1" presStyleIdx="1" presStyleCnt="2" custLinFactNeighborX="96" custLinFactNeighborY="-1116">
        <dgm:presLayoutVars>
          <dgm:chPref val="3"/>
        </dgm:presLayoutVars>
      </dgm:prSet>
      <dgm:spPr/>
    </dgm:pt>
    <dgm:pt modelId="{637A4D5E-7925-44F7-BE08-12F07C1D17FD}" type="pres">
      <dgm:prSet presAssocID="{ED2761F0-B3B2-45D2-9A16-4981747FFC78}" presName="rootConnector3" presStyleLbl="asst1" presStyleIdx="1" presStyleCnt="2"/>
      <dgm:spPr/>
    </dgm:pt>
    <dgm:pt modelId="{011A2420-DD8E-4DBF-8E56-92AA4C365963}" type="pres">
      <dgm:prSet presAssocID="{ED2761F0-B3B2-45D2-9A16-4981747FFC78}" presName="hierChild6" presStyleCnt="0"/>
      <dgm:spPr/>
    </dgm:pt>
    <dgm:pt modelId="{FE9F0841-56E8-4B9C-948B-83C70F1B584C}" type="pres">
      <dgm:prSet presAssocID="{ED2761F0-B3B2-45D2-9A16-4981747FFC78}" presName="hierChild7" presStyleCnt="0"/>
      <dgm:spPr/>
    </dgm:pt>
  </dgm:ptLst>
  <dgm:cxnLst>
    <dgm:cxn modelId="{AD593E0A-E1D4-4354-854D-E3C0D6896018}" type="presOf" srcId="{01D7250C-591A-4F06-9D25-405769F19ED3}" destId="{9940BD2E-D6A6-4A0D-AB7D-31A1A23128C1}" srcOrd="0" destOrd="0" presId="urn:microsoft.com/office/officeart/2005/8/layout/orgChart1"/>
    <dgm:cxn modelId="{25FE061B-C94B-43BC-B8B6-9AF635DC024F}" srcId="{5F770CB0-36E1-4C80-9B90-BF00B8A33D33}" destId="{ED2761F0-B3B2-45D2-9A16-4981747FFC78}" srcOrd="0" destOrd="0" parTransId="{EB4D8493-AE90-41EA-8620-2750847AE2B3}" sibTransId="{A8E8D935-9C58-40BA-9666-C9023BD005C6}"/>
    <dgm:cxn modelId="{7F86721C-8009-468A-A319-1760D0813050}" type="presOf" srcId="{7908B6A6-42DF-4E59-8724-8C6787ECA65D}" destId="{C485B1D8-F3B5-4064-96C4-B0FEA363111F}" srcOrd="0" destOrd="0" presId="urn:microsoft.com/office/officeart/2005/8/layout/orgChart1"/>
    <dgm:cxn modelId="{16A54A26-F31E-4E7C-B7ED-85E3EC476B3B}" type="presOf" srcId="{83E08D30-EA90-4F0B-923D-5C71AE077121}" destId="{219960F8-65EB-4E25-83AF-C49B5B4EA218}" srcOrd="1" destOrd="0" presId="urn:microsoft.com/office/officeart/2005/8/layout/orgChart1"/>
    <dgm:cxn modelId="{57708629-500A-4EA6-860B-792DCDFEFC99}" srcId="{7908B6A6-42DF-4E59-8724-8C6787ECA65D}" destId="{77C83D92-BCD8-49C3-AA1D-D8EE4B9F08CC}" srcOrd="0" destOrd="0" parTransId="{C399F123-42ED-4E4C-8079-E4728C355F44}" sibTransId="{C55356BB-65C9-4E03-A893-0A2CD4E926F6}"/>
    <dgm:cxn modelId="{B624532B-A76C-448B-858C-D1673986F466}" type="presOf" srcId="{6DB5F40A-650D-4A38-8783-40CAFD6040CF}" destId="{55651238-A75E-439B-B8BC-515A37F28039}" srcOrd="0" destOrd="0" presId="urn:microsoft.com/office/officeart/2005/8/layout/orgChart1"/>
    <dgm:cxn modelId="{B3B76036-0099-4083-9254-086BEE4FB733}" type="presOf" srcId="{79D87D85-42DC-4776-9545-C952404ABB83}" destId="{28A3B558-7564-40DE-BC37-A480844E04BE}" srcOrd="1" destOrd="0" presId="urn:microsoft.com/office/officeart/2005/8/layout/orgChart1"/>
    <dgm:cxn modelId="{3BBBEA36-7B61-4AFD-AD24-43383484C669}" type="presOf" srcId="{77C83D92-BCD8-49C3-AA1D-D8EE4B9F08CC}" destId="{3B1BD513-2F0A-48DA-B76E-1100432BFEB0}" srcOrd="1" destOrd="0" presId="urn:microsoft.com/office/officeart/2005/8/layout/orgChart1"/>
    <dgm:cxn modelId="{6C8C8F3C-D409-44C3-9158-F6263DE32ABF}" srcId="{7908B6A6-42DF-4E59-8724-8C6787ECA65D}" destId="{5F770CB0-36E1-4C80-9B90-BF00B8A33D33}" srcOrd="1" destOrd="0" parTransId="{8E282487-21E8-48F5-A108-A20E639DDCD4}" sibTransId="{C0DBA9A3-768D-4DE3-B35E-013D0CFC9ED8}"/>
    <dgm:cxn modelId="{CD31BE40-3DDF-4E90-A1DB-36E7AA52CF6B}" type="presOf" srcId="{83E08D30-EA90-4F0B-923D-5C71AE077121}" destId="{61165860-A574-4F55-B351-E752237F626A}" srcOrd="0" destOrd="0" presId="urn:microsoft.com/office/officeart/2005/8/layout/orgChart1"/>
    <dgm:cxn modelId="{7C8A7A60-3706-4AA0-BCA8-A6BA37141706}" srcId="{5F770CB0-36E1-4C80-9B90-BF00B8A33D33}" destId="{79D87D85-42DC-4776-9545-C952404ABB83}" srcOrd="2" destOrd="0" parTransId="{177429F1-893B-4C76-A39F-E0BFA6219E32}" sibTransId="{39BDFD5E-3655-4B74-8CEB-877619C14CA0}"/>
    <dgm:cxn modelId="{855DB768-36C2-495A-9464-03A8B39F0BBE}" type="presOf" srcId="{6B64506A-236E-42EA-96F8-D043BE8532E6}" destId="{B45C14BB-1B61-47E1-99E9-CE93721E7CC2}" srcOrd="0" destOrd="0" presId="urn:microsoft.com/office/officeart/2005/8/layout/orgChart1"/>
    <dgm:cxn modelId="{F7EDD177-8DB3-41DD-AE8A-17FC1A0CEDED}" type="presOf" srcId="{EB4D8493-AE90-41EA-8620-2750847AE2B3}" destId="{F74DE3A7-0E75-4216-BF74-2D5BC1F03D95}" srcOrd="0" destOrd="0" presId="urn:microsoft.com/office/officeart/2005/8/layout/orgChart1"/>
    <dgm:cxn modelId="{29AD8D7E-FA53-43C4-A7C6-08C4F99AABAB}" srcId="{5F770CB0-36E1-4C80-9B90-BF00B8A33D33}" destId="{6B64506A-236E-42EA-96F8-D043BE8532E6}" srcOrd="5" destOrd="0" parTransId="{19E6F88B-E4D3-436D-95F5-0041F5D6F2AD}" sibTransId="{5D8B1042-A393-4B0C-B371-9E0D5DD13966}"/>
    <dgm:cxn modelId="{2E783F7F-9DF9-4965-84EE-3E70B455F852}" type="presOf" srcId="{D97722DA-102F-468E-8DC5-57C12E1A988F}" destId="{0CE2B19A-8961-4768-A69B-2AE52A0EA7EA}" srcOrd="0" destOrd="0" presId="urn:microsoft.com/office/officeart/2005/8/layout/orgChart1"/>
    <dgm:cxn modelId="{02C95881-426C-4EC9-A59E-F6636B2D4263}" type="presOf" srcId="{941F97A6-61D8-4A00-B595-B90EA8A7CD40}" destId="{95D13192-9FEE-489A-8538-624BEC65C90E}" srcOrd="0" destOrd="0" presId="urn:microsoft.com/office/officeart/2005/8/layout/orgChart1"/>
    <dgm:cxn modelId="{6FF6C79B-3CF8-471E-9EF8-94C117EC00C1}" type="presOf" srcId="{77C83D92-BCD8-49C3-AA1D-D8EE4B9F08CC}" destId="{9E1A80C7-D23C-493E-8105-51D7FCD8E6FA}" srcOrd="0" destOrd="0" presId="urn:microsoft.com/office/officeart/2005/8/layout/orgChart1"/>
    <dgm:cxn modelId="{2A931BAA-E892-49DF-BBF5-693036016F65}" type="presOf" srcId="{79D87D85-42DC-4776-9545-C952404ABB83}" destId="{8D97B4B7-C573-473D-9F13-2D9E19A6D742}" srcOrd="0" destOrd="0" presId="urn:microsoft.com/office/officeart/2005/8/layout/orgChart1"/>
    <dgm:cxn modelId="{67E3EBAE-43B5-4D0B-BC3E-36387713D97A}" srcId="{77C83D92-BCD8-49C3-AA1D-D8EE4B9F08CC}" destId="{83E08D30-EA90-4F0B-923D-5C71AE077121}" srcOrd="0" destOrd="0" parTransId="{F5C37E61-B28B-4779-B67F-FAAE09BC7994}" sibTransId="{34513BD4-594F-4E4A-9A97-E93F131A2A01}"/>
    <dgm:cxn modelId="{951A89B5-A16F-42A1-8C01-7254F2E668D5}" type="presOf" srcId="{05F99E4B-349E-4C97-ABFC-CC3568076291}" destId="{72BFF4D6-0881-4DF4-80E2-D284036AA51F}" srcOrd="0" destOrd="0" presId="urn:microsoft.com/office/officeart/2005/8/layout/orgChart1"/>
    <dgm:cxn modelId="{B279EBB8-BF66-4243-8E0F-5D319B7FAEB3}" type="presOf" srcId="{5C7A0844-D62E-46F7-8692-CDFB76B49370}" destId="{5519BE10-6E71-40C4-9515-974D45EFA8E5}" srcOrd="1" destOrd="0" presId="urn:microsoft.com/office/officeart/2005/8/layout/orgChart1"/>
    <dgm:cxn modelId="{46731CBE-5313-48AF-9421-92C248402748}" type="presOf" srcId="{941F97A6-61D8-4A00-B595-B90EA8A7CD40}" destId="{4FFD53E3-BD89-42EF-A31A-12B212EDC57F}" srcOrd="1" destOrd="0" presId="urn:microsoft.com/office/officeart/2005/8/layout/orgChart1"/>
    <dgm:cxn modelId="{341759C4-CEB1-426C-972B-90B91217F7BF}" srcId="{5F770CB0-36E1-4C80-9B90-BF00B8A33D33}" destId="{01D7250C-591A-4F06-9D25-405769F19ED3}" srcOrd="1" destOrd="0" parTransId="{6DB5F40A-650D-4A38-8783-40CAFD6040CF}" sibTransId="{7D4D054F-D063-439E-8353-1F1E6F84B639}"/>
    <dgm:cxn modelId="{970579CD-876C-4BD5-8CC0-7007756E3A0C}" type="presOf" srcId="{177429F1-893B-4C76-A39F-E0BFA6219E32}" destId="{710F8147-BF4E-434E-8E6E-1C68C4257AEB}" srcOrd="0" destOrd="0" presId="urn:microsoft.com/office/officeart/2005/8/layout/orgChart1"/>
    <dgm:cxn modelId="{D8AD75D2-B980-48A1-AE62-797E5D8D5B31}" srcId="{5F770CB0-36E1-4C80-9B90-BF00B8A33D33}" destId="{941F97A6-61D8-4A00-B595-B90EA8A7CD40}" srcOrd="3" destOrd="0" parTransId="{D97722DA-102F-468E-8DC5-57C12E1A988F}" sibTransId="{A38A17E4-E101-4DFB-83AE-74B4690AF3C2}"/>
    <dgm:cxn modelId="{E9D899D2-77D6-4117-87EC-82E3C70218FD}" type="presOf" srcId="{19E6F88B-E4D3-436D-95F5-0041F5D6F2AD}" destId="{311D4758-9DC2-4D6D-92E9-39E1892B6DBB}" srcOrd="0" destOrd="0" presId="urn:microsoft.com/office/officeart/2005/8/layout/orgChart1"/>
    <dgm:cxn modelId="{C88747D3-89E9-414A-9F6E-1EEC5CD2EE94}" type="presOf" srcId="{5C7A0844-D62E-46F7-8692-CDFB76B49370}" destId="{F8FE08BC-72D2-4ED2-939C-53438E9F7459}" srcOrd="0" destOrd="0" presId="urn:microsoft.com/office/officeart/2005/8/layout/orgChart1"/>
    <dgm:cxn modelId="{325525D9-4608-4F7B-8166-894D687279AC}" type="presOf" srcId="{ED2761F0-B3B2-45D2-9A16-4981747FFC78}" destId="{A2A5EF0A-FF0B-4312-81A0-2741BD68FBAE}" srcOrd="0" destOrd="0" presId="urn:microsoft.com/office/officeart/2005/8/layout/orgChart1"/>
    <dgm:cxn modelId="{CDCF0EDB-F0BA-481C-9B0F-68B802353619}" type="presOf" srcId="{ED2761F0-B3B2-45D2-9A16-4981747FFC78}" destId="{637A4D5E-7925-44F7-BE08-12F07C1D17FD}" srcOrd="1" destOrd="0" presId="urn:microsoft.com/office/officeart/2005/8/layout/orgChart1"/>
    <dgm:cxn modelId="{11ED52DF-2CC0-4BB5-841E-76151FBC83A9}" type="presOf" srcId="{6B64506A-236E-42EA-96F8-D043BE8532E6}" destId="{D66C6941-C9CE-4A14-9535-B7E553A9F7C3}" srcOrd="1" destOrd="0" presId="urn:microsoft.com/office/officeart/2005/8/layout/orgChart1"/>
    <dgm:cxn modelId="{C9D6D3E0-2907-440B-9EB4-EE55B012F805}" type="presOf" srcId="{5F770CB0-36E1-4C80-9B90-BF00B8A33D33}" destId="{3FE846EF-72E0-4F19-BD3B-A0A69F74024C}" srcOrd="1" destOrd="0" presId="urn:microsoft.com/office/officeart/2005/8/layout/orgChart1"/>
    <dgm:cxn modelId="{0A2155E1-72D9-438B-97A2-A0BE3DBAE32F}" type="presOf" srcId="{F5C37E61-B28B-4779-B67F-FAAE09BC7994}" destId="{20651C4C-222A-44C8-9C66-F7FAA52281F0}" srcOrd="0" destOrd="0" presId="urn:microsoft.com/office/officeart/2005/8/layout/orgChart1"/>
    <dgm:cxn modelId="{5C1437F5-97EA-4358-8BC4-F11CFC88B287}" type="presOf" srcId="{5F770CB0-36E1-4C80-9B90-BF00B8A33D33}" destId="{3EED2246-B988-4C0D-B551-3654E62951EC}" srcOrd="0" destOrd="0" presId="urn:microsoft.com/office/officeart/2005/8/layout/orgChart1"/>
    <dgm:cxn modelId="{364422FA-A66F-4ED0-883D-625AB44CCBE1}" type="presOf" srcId="{01D7250C-591A-4F06-9D25-405769F19ED3}" destId="{E78450A3-23FB-4407-BD35-25FDBD8F1EC6}" srcOrd="1" destOrd="0" presId="urn:microsoft.com/office/officeart/2005/8/layout/orgChart1"/>
    <dgm:cxn modelId="{B855F5FB-D660-4239-B9E1-D4E084FB3531}" srcId="{5F770CB0-36E1-4C80-9B90-BF00B8A33D33}" destId="{5C7A0844-D62E-46F7-8692-CDFB76B49370}" srcOrd="4" destOrd="0" parTransId="{05F99E4B-349E-4C97-ABFC-CC3568076291}" sibTransId="{D79A8A8F-0FA2-4D85-AFB4-CBBA19888FA1}"/>
    <dgm:cxn modelId="{FB62BF34-6575-47C1-9358-C2C141F994C0}" type="presParOf" srcId="{C485B1D8-F3B5-4064-96C4-B0FEA363111F}" destId="{BDA0A9AD-33B0-4E32-8B7C-417B0F5FA510}" srcOrd="0" destOrd="0" presId="urn:microsoft.com/office/officeart/2005/8/layout/orgChart1"/>
    <dgm:cxn modelId="{792C47C1-29CB-433A-888F-F3455B57BD69}" type="presParOf" srcId="{BDA0A9AD-33B0-4E32-8B7C-417B0F5FA510}" destId="{082D2651-D9E3-4F7C-BE3B-C3E80DD7D57C}" srcOrd="0" destOrd="0" presId="urn:microsoft.com/office/officeart/2005/8/layout/orgChart1"/>
    <dgm:cxn modelId="{708F7F92-6987-4A54-A9E3-4B4F63AC820A}" type="presParOf" srcId="{082D2651-D9E3-4F7C-BE3B-C3E80DD7D57C}" destId="{9E1A80C7-D23C-493E-8105-51D7FCD8E6FA}" srcOrd="0" destOrd="0" presId="urn:microsoft.com/office/officeart/2005/8/layout/orgChart1"/>
    <dgm:cxn modelId="{E216E99C-9D53-4281-81AE-2705D3F47F51}" type="presParOf" srcId="{082D2651-D9E3-4F7C-BE3B-C3E80DD7D57C}" destId="{3B1BD513-2F0A-48DA-B76E-1100432BFEB0}" srcOrd="1" destOrd="0" presId="urn:microsoft.com/office/officeart/2005/8/layout/orgChart1"/>
    <dgm:cxn modelId="{206C4D46-7B28-495E-939D-9CB2DD88FD6B}" type="presParOf" srcId="{BDA0A9AD-33B0-4E32-8B7C-417B0F5FA510}" destId="{A94FE744-72C2-4A12-A63E-4DAB7E8D4884}" srcOrd="1" destOrd="0" presId="urn:microsoft.com/office/officeart/2005/8/layout/orgChart1"/>
    <dgm:cxn modelId="{00150DF0-7909-4F9B-ADDC-4C61918098E5}" type="presParOf" srcId="{BDA0A9AD-33B0-4E32-8B7C-417B0F5FA510}" destId="{20B161F1-6658-49F3-92DC-BAF6E7363A3A}" srcOrd="2" destOrd="0" presId="urn:microsoft.com/office/officeart/2005/8/layout/orgChart1"/>
    <dgm:cxn modelId="{465B0DBE-7D96-4A4F-AD32-1CE49B737032}" type="presParOf" srcId="{20B161F1-6658-49F3-92DC-BAF6E7363A3A}" destId="{20651C4C-222A-44C8-9C66-F7FAA52281F0}" srcOrd="0" destOrd="0" presId="urn:microsoft.com/office/officeart/2005/8/layout/orgChart1"/>
    <dgm:cxn modelId="{40B4B79B-098F-467D-8614-84CAA2BEF707}" type="presParOf" srcId="{20B161F1-6658-49F3-92DC-BAF6E7363A3A}" destId="{87609666-65FD-4B0A-B1CB-F2D1E03E0EE5}" srcOrd="1" destOrd="0" presId="urn:microsoft.com/office/officeart/2005/8/layout/orgChart1"/>
    <dgm:cxn modelId="{84543E99-46B9-452A-B43F-73C516302B85}" type="presParOf" srcId="{87609666-65FD-4B0A-B1CB-F2D1E03E0EE5}" destId="{562CCFF2-5020-4E50-B868-07A2ECE98A57}" srcOrd="0" destOrd="0" presId="urn:microsoft.com/office/officeart/2005/8/layout/orgChart1"/>
    <dgm:cxn modelId="{C6C1C885-4030-4B65-B5F0-029349F746DA}" type="presParOf" srcId="{562CCFF2-5020-4E50-B868-07A2ECE98A57}" destId="{61165860-A574-4F55-B351-E752237F626A}" srcOrd="0" destOrd="0" presId="urn:microsoft.com/office/officeart/2005/8/layout/orgChart1"/>
    <dgm:cxn modelId="{22C8BCF6-3B95-4287-B174-252E2B894BCE}" type="presParOf" srcId="{562CCFF2-5020-4E50-B868-07A2ECE98A57}" destId="{219960F8-65EB-4E25-83AF-C49B5B4EA218}" srcOrd="1" destOrd="0" presId="urn:microsoft.com/office/officeart/2005/8/layout/orgChart1"/>
    <dgm:cxn modelId="{469C2CF3-BC02-477F-AD38-DEF8272CBBE1}" type="presParOf" srcId="{87609666-65FD-4B0A-B1CB-F2D1E03E0EE5}" destId="{05398138-4DF4-4437-A031-BD007673DE69}" srcOrd="1" destOrd="0" presId="urn:microsoft.com/office/officeart/2005/8/layout/orgChart1"/>
    <dgm:cxn modelId="{CB79D428-4100-4E60-A04B-C09CF0DD1D3D}" type="presParOf" srcId="{87609666-65FD-4B0A-B1CB-F2D1E03E0EE5}" destId="{B2A7BFC2-D49B-468A-B34F-1FFD505D8564}" srcOrd="2" destOrd="0" presId="urn:microsoft.com/office/officeart/2005/8/layout/orgChart1"/>
    <dgm:cxn modelId="{FF27EB38-689C-4D84-9AB0-B25580092DDB}" type="presParOf" srcId="{C485B1D8-F3B5-4064-96C4-B0FEA363111F}" destId="{3F95F10C-A28F-4780-81D4-0FE7F2E065DB}" srcOrd="1" destOrd="0" presId="urn:microsoft.com/office/officeart/2005/8/layout/orgChart1"/>
    <dgm:cxn modelId="{F1C7A06D-14DD-4F7A-8180-55CF2580BD01}" type="presParOf" srcId="{3F95F10C-A28F-4780-81D4-0FE7F2E065DB}" destId="{20A0241A-92D7-4818-975E-1F07AB1D0F5A}" srcOrd="0" destOrd="0" presId="urn:microsoft.com/office/officeart/2005/8/layout/orgChart1"/>
    <dgm:cxn modelId="{C7798EEA-E85C-4D70-85FD-0158A7D6039A}" type="presParOf" srcId="{20A0241A-92D7-4818-975E-1F07AB1D0F5A}" destId="{3EED2246-B988-4C0D-B551-3654E62951EC}" srcOrd="0" destOrd="0" presId="urn:microsoft.com/office/officeart/2005/8/layout/orgChart1"/>
    <dgm:cxn modelId="{AB0CED35-E306-4CDA-AE32-5D691FFE6818}" type="presParOf" srcId="{20A0241A-92D7-4818-975E-1F07AB1D0F5A}" destId="{3FE846EF-72E0-4F19-BD3B-A0A69F74024C}" srcOrd="1" destOrd="0" presId="urn:microsoft.com/office/officeart/2005/8/layout/orgChart1"/>
    <dgm:cxn modelId="{100BA63F-1D45-4970-932A-23EB94A580DF}" type="presParOf" srcId="{3F95F10C-A28F-4780-81D4-0FE7F2E065DB}" destId="{A2B70F22-C361-4ADB-9975-0545E33EC0F2}" srcOrd="1" destOrd="0" presId="urn:microsoft.com/office/officeart/2005/8/layout/orgChart1"/>
    <dgm:cxn modelId="{C45FFD27-F359-4C02-8243-13D7DDC40CE0}" type="presParOf" srcId="{A2B70F22-C361-4ADB-9975-0545E33EC0F2}" destId="{55651238-A75E-439B-B8BC-515A37F28039}" srcOrd="0" destOrd="0" presId="urn:microsoft.com/office/officeart/2005/8/layout/orgChart1"/>
    <dgm:cxn modelId="{F2DE3CB3-497D-4DE0-B780-FD3BDAC77398}" type="presParOf" srcId="{A2B70F22-C361-4ADB-9975-0545E33EC0F2}" destId="{3DC6DEE1-6D44-4623-8A1A-B49BEEA7984F}" srcOrd="1" destOrd="0" presId="urn:microsoft.com/office/officeart/2005/8/layout/orgChart1"/>
    <dgm:cxn modelId="{3B78177A-B544-4511-A70E-F484A839E03A}" type="presParOf" srcId="{3DC6DEE1-6D44-4623-8A1A-B49BEEA7984F}" destId="{B769C679-44C6-4071-AB08-0EE2FA206180}" srcOrd="0" destOrd="0" presId="urn:microsoft.com/office/officeart/2005/8/layout/orgChart1"/>
    <dgm:cxn modelId="{CA82CD64-980A-4721-952A-679818B2BE21}" type="presParOf" srcId="{B769C679-44C6-4071-AB08-0EE2FA206180}" destId="{9940BD2E-D6A6-4A0D-AB7D-31A1A23128C1}" srcOrd="0" destOrd="0" presId="urn:microsoft.com/office/officeart/2005/8/layout/orgChart1"/>
    <dgm:cxn modelId="{9E81F1DB-DC5C-444B-996F-09C04658D737}" type="presParOf" srcId="{B769C679-44C6-4071-AB08-0EE2FA206180}" destId="{E78450A3-23FB-4407-BD35-25FDBD8F1EC6}" srcOrd="1" destOrd="0" presId="urn:microsoft.com/office/officeart/2005/8/layout/orgChart1"/>
    <dgm:cxn modelId="{7C765FA9-346C-470A-BA9C-6CB6A9102BCC}" type="presParOf" srcId="{3DC6DEE1-6D44-4623-8A1A-B49BEEA7984F}" destId="{B9D75B06-FE85-41D4-AFB4-0B79119A9B33}" srcOrd="1" destOrd="0" presId="urn:microsoft.com/office/officeart/2005/8/layout/orgChart1"/>
    <dgm:cxn modelId="{EDFEA4F5-FADC-4A3D-A1E4-4BD766DDBF93}" type="presParOf" srcId="{3DC6DEE1-6D44-4623-8A1A-B49BEEA7984F}" destId="{F9E195AA-3E0D-4D8E-9758-0CCB813ED3B6}" srcOrd="2" destOrd="0" presId="urn:microsoft.com/office/officeart/2005/8/layout/orgChart1"/>
    <dgm:cxn modelId="{A3226591-D907-4CE2-A07D-E8F8F5ED76D1}" type="presParOf" srcId="{A2B70F22-C361-4ADB-9975-0545E33EC0F2}" destId="{710F8147-BF4E-434E-8E6E-1C68C4257AEB}" srcOrd="2" destOrd="0" presId="urn:microsoft.com/office/officeart/2005/8/layout/orgChart1"/>
    <dgm:cxn modelId="{8AC82520-AEA3-4A2A-A6F2-3AEE70DF5035}" type="presParOf" srcId="{A2B70F22-C361-4ADB-9975-0545E33EC0F2}" destId="{61558002-A1C4-41F4-8200-D5850E4ECAB4}" srcOrd="3" destOrd="0" presId="urn:microsoft.com/office/officeart/2005/8/layout/orgChart1"/>
    <dgm:cxn modelId="{E87C5D00-EA28-4B40-BDF3-2527B265CAF8}" type="presParOf" srcId="{61558002-A1C4-41F4-8200-D5850E4ECAB4}" destId="{7CF34AE0-0B55-4632-9F0C-557DD68C2D31}" srcOrd="0" destOrd="0" presId="urn:microsoft.com/office/officeart/2005/8/layout/orgChart1"/>
    <dgm:cxn modelId="{B0C4D78C-BB73-4050-B0BC-60FBC16EE8E4}" type="presParOf" srcId="{7CF34AE0-0B55-4632-9F0C-557DD68C2D31}" destId="{8D97B4B7-C573-473D-9F13-2D9E19A6D742}" srcOrd="0" destOrd="0" presId="urn:microsoft.com/office/officeart/2005/8/layout/orgChart1"/>
    <dgm:cxn modelId="{FAC54CD6-4CA9-4522-8C30-E6F12FCC98D5}" type="presParOf" srcId="{7CF34AE0-0B55-4632-9F0C-557DD68C2D31}" destId="{28A3B558-7564-40DE-BC37-A480844E04BE}" srcOrd="1" destOrd="0" presId="urn:microsoft.com/office/officeart/2005/8/layout/orgChart1"/>
    <dgm:cxn modelId="{0A083342-BAB0-431B-BC8A-4D3628C7DB56}" type="presParOf" srcId="{61558002-A1C4-41F4-8200-D5850E4ECAB4}" destId="{5C30109C-6A64-47EF-BE79-D2CD6A640167}" srcOrd="1" destOrd="0" presId="urn:microsoft.com/office/officeart/2005/8/layout/orgChart1"/>
    <dgm:cxn modelId="{7EA44A02-C9F0-4C19-A76F-AF27C36FD26A}" type="presParOf" srcId="{61558002-A1C4-41F4-8200-D5850E4ECAB4}" destId="{5593BBAC-45DA-4A42-A745-5628650A2FBC}" srcOrd="2" destOrd="0" presId="urn:microsoft.com/office/officeart/2005/8/layout/orgChart1"/>
    <dgm:cxn modelId="{569748D9-C7A3-4125-8371-7B3B67D706E6}" type="presParOf" srcId="{A2B70F22-C361-4ADB-9975-0545E33EC0F2}" destId="{0CE2B19A-8961-4768-A69B-2AE52A0EA7EA}" srcOrd="4" destOrd="0" presId="urn:microsoft.com/office/officeart/2005/8/layout/orgChart1"/>
    <dgm:cxn modelId="{A0E0F40E-1B28-498D-8476-EB977171B776}" type="presParOf" srcId="{A2B70F22-C361-4ADB-9975-0545E33EC0F2}" destId="{6565CA1A-78A4-441D-A676-4ABE2F575762}" srcOrd="5" destOrd="0" presId="urn:microsoft.com/office/officeart/2005/8/layout/orgChart1"/>
    <dgm:cxn modelId="{6A12757A-5492-428F-8FB0-5D9BAFDDFDCA}" type="presParOf" srcId="{6565CA1A-78A4-441D-A676-4ABE2F575762}" destId="{199CB54C-AF87-448A-B514-83F7A6934BAD}" srcOrd="0" destOrd="0" presId="urn:microsoft.com/office/officeart/2005/8/layout/orgChart1"/>
    <dgm:cxn modelId="{64C110B8-4AC3-459A-B3D4-4EC3A264F424}" type="presParOf" srcId="{199CB54C-AF87-448A-B514-83F7A6934BAD}" destId="{95D13192-9FEE-489A-8538-624BEC65C90E}" srcOrd="0" destOrd="0" presId="urn:microsoft.com/office/officeart/2005/8/layout/orgChart1"/>
    <dgm:cxn modelId="{3721477C-17BB-4EFB-839C-D6494A74F741}" type="presParOf" srcId="{199CB54C-AF87-448A-B514-83F7A6934BAD}" destId="{4FFD53E3-BD89-42EF-A31A-12B212EDC57F}" srcOrd="1" destOrd="0" presId="urn:microsoft.com/office/officeart/2005/8/layout/orgChart1"/>
    <dgm:cxn modelId="{01F2ACE1-9D5C-4303-ABDE-76E3F84B16F1}" type="presParOf" srcId="{6565CA1A-78A4-441D-A676-4ABE2F575762}" destId="{25A34937-3AC7-4B16-934F-A18731A481AB}" srcOrd="1" destOrd="0" presId="urn:microsoft.com/office/officeart/2005/8/layout/orgChart1"/>
    <dgm:cxn modelId="{5A84D4FF-63D5-4394-8352-22BC24A65F15}" type="presParOf" srcId="{6565CA1A-78A4-441D-A676-4ABE2F575762}" destId="{2A8AAA20-6802-4586-A07A-C6E903668852}" srcOrd="2" destOrd="0" presId="urn:microsoft.com/office/officeart/2005/8/layout/orgChart1"/>
    <dgm:cxn modelId="{B5256D2E-0613-42DC-956C-317634DBDBE4}" type="presParOf" srcId="{A2B70F22-C361-4ADB-9975-0545E33EC0F2}" destId="{72BFF4D6-0881-4DF4-80E2-D284036AA51F}" srcOrd="6" destOrd="0" presId="urn:microsoft.com/office/officeart/2005/8/layout/orgChart1"/>
    <dgm:cxn modelId="{10D01671-0EA0-4A27-BD07-400775F149D0}" type="presParOf" srcId="{A2B70F22-C361-4ADB-9975-0545E33EC0F2}" destId="{E1431DA2-A3F3-412D-8EA0-AE722D8AE801}" srcOrd="7" destOrd="0" presId="urn:microsoft.com/office/officeart/2005/8/layout/orgChart1"/>
    <dgm:cxn modelId="{680AFC1A-BF2E-4069-A30B-07E9DE886C9F}" type="presParOf" srcId="{E1431DA2-A3F3-412D-8EA0-AE722D8AE801}" destId="{635D4310-784F-4252-AA51-DA81FD5F5166}" srcOrd="0" destOrd="0" presId="urn:microsoft.com/office/officeart/2005/8/layout/orgChart1"/>
    <dgm:cxn modelId="{617BE7F0-7DC7-4B02-8FAB-C9DB56C8C037}" type="presParOf" srcId="{635D4310-784F-4252-AA51-DA81FD5F5166}" destId="{F8FE08BC-72D2-4ED2-939C-53438E9F7459}" srcOrd="0" destOrd="0" presId="urn:microsoft.com/office/officeart/2005/8/layout/orgChart1"/>
    <dgm:cxn modelId="{878DCF11-5D55-47EF-8E3C-87D886E1D1E0}" type="presParOf" srcId="{635D4310-784F-4252-AA51-DA81FD5F5166}" destId="{5519BE10-6E71-40C4-9515-974D45EFA8E5}" srcOrd="1" destOrd="0" presId="urn:microsoft.com/office/officeart/2005/8/layout/orgChart1"/>
    <dgm:cxn modelId="{12C9192F-A1DB-4C7C-8260-C7D21E7B5179}" type="presParOf" srcId="{E1431DA2-A3F3-412D-8EA0-AE722D8AE801}" destId="{7B2BCC08-1842-4094-AB24-2BDEC31EEF0A}" srcOrd="1" destOrd="0" presId="urn:microsoft.com/office/officeart/2005/8/layout/orgChart1"/>
    <dgm:cxn modelId="{D6AB21C5-2B19-47B1-8092-173CF0F82F40}" type="presParOf" srcId="{E1431DA2-A3F3-412D-8EA0-AE722D8AE801}" destId="{D5E84335-9BFC-4C11-9B4A-5A9C72476378}" srcOrd="2" destOrd="0" presId="urn:microsoft.com/office/officeart/2005/8/layout/orgChart1"/>
    <dgm:cxn modelId="{9ADC14F3-A922-4A57-AE5D-987793023FB3}" type="presParOf" srcId="{A2B70F22-C361-4ADB-9975-0545E33EC0F2}" destId="{311D4758-9DC2-4D6D-92E9-39E1892B6DBB}" srcOrd="8" destOrd="0" presId="urn:microsoft.com/office/officeart/2005/8/layout/orgChart1"/>
    <dgm:cxn modelId="{A5547F01-5468-4176-A155-557854828909}" type="presParOf" srcId="{A2B70F22-C361-4ADB-9975-0545E33EC0F2}" destId="{EC9DF2E2-3756-4082-A186-E83565444814}" srcOrd="9" destOrd="0" presId="urn:microsoft.com/office/officeart/2005/8/layout/orgChart1"/>
    <dgm:cxn modelId="{022D4B37-218D-4C84-A09D-DDF31D1F92FC}" type="presParOf" srcId="{EC9DF2E2-3756-4082-A186-E83565444814}" destId="{765A2E93-38CA-452F-AB53-1EE81B5E02FD}" srcOrd="0" destOrd="0" presId="urn:microsoft.com/office/officeart/2005/8/layout/orgChart1"/>
    <dgm:cxn modelId="{77ED2995-2A7F-4FEF-97F0-5BB63B77A900}" type="presParOf" srcId="{765A2E93-38CA-452F-AB53-1EE81B5E02FD}" destId="{B45C14BB-1B61-47E1-99E9-CE93721E7CC2}" srcOrd="0" destOrd="0" presId="urn:microsoft.com/office/officeart/2005/8/layout/orgChart1"/>
    <dgm:cxn modelId="{FF422668-9C57-46A3-B5AD-15B99282C134}" type="presParOf" srcId="{765A2E93-38CA-452F-AB53-1EE81B5E02FD}" destId="{D66C6941-C9CE-4A14-9535-B7E553A9F7C3}" srcOrd="1" destOrd="0" presId="urn:microsoft.com/office/officeart/2005/8/layout/orgChart1"/>
    <dgm:cxn modelId="{A44DDC27-F029-4FC7-97A0-9846A1068DED}" type="presParOf" srcId="{EC9DF2E2-3756-4082-A186-E83565444814}" destId="{C8C232FD-DB65-4C2F-A10D-B1EE94116D2D}" srcOrd="1" destOrd="0" presId="urn:microsoft.com/office/officeart/2005/8/layout/orgChart1"/>
    <dgm:cxn modelId="{A88A2E36-36B0-402C-A261-2D35DAA5852F}" type="presParOf" srcId="{EC9DF2E2-3756-4082-A186-E83565444814}" destId="{E84A5D7D-C2F9-4EC5-863B-1BCE7878555F}" srcOrd="2" destOrd="0" presId="urn:microsoft.com/office/officeart/2005/8/layout/orgChart1"/>
    <dgm:cxn modelId="{81A55202-8829-4E04-9AB9-292D51D6147A}" type="presParOf" srcId="{3F95F10C-A28F-4780-81D4-0FE7F2E065DB}" destId="{61921BC4-7B8C-4B13-B5FC-BE25F5DE295A}" srcOrd="2" destOrd="0" presId="urn:microsoft.com/office/officeart/2005/8/layout/orgChart1"/>
    <dgm:cxn modelId="{6306EB70-E19A-4F5F-BEE1-8CF4E3EAD20B}" type="presParOf" srcId="{61921BC4-7B8C-4B13-B5FC-BE25F5DE295A}" destId="{F74DE3A7-0E75-4216-BF74-2D5BC1F03D95}" srcOrd="0" destOrd="0" presId="urn:microsoft.com/office/officeart/2005/8/layout/orgChart1"/>
    <dgm:cxn modelId="{5AA765B6-7B12-41DB-8150-38E63B711494}" type="presParOf" srcId="{61921BC4-7B8C-4B13-B5FC-BE25F5DE295A}" destId="{3AB20BA5-C0E8-4DC6-829E-3AD65BD01C2B}" srcOrd="1" destOrd="0" presId="urn:microsoft.com/office/officeart/2005/8/layout/orgChart1"/>
    <dgm:cxn modelId="{A151ABDF-C047-4B6C-B9A8-BBF6CEB3AC76}" type="presParOf" srcId="{3AB20BA5-C0E8-4DC6-829E-3AD65BD01C2B}" destId="{A2B802F9-873C-4375-AE1C-BECA49B618A3}" srcOrd="0" destOrd="0" presId="urn:microsoft.com/office/officeart/2005/8/layout/orgChart1"/>
    <dgm:cxn modelId="{FC84B473-A138-4831-87E7-69A5A372A522}" type="presParOf" srcId="{A2B802F9-873C-4375-AE1C-BECA49B618A3}" destId="{A2A5EF0A-FF0B-4312-81A0-2741BD68FBAE}" srcOrd="0" destOrd="0" presId="urn:microsoft.com/office/officeart/2005/8/layout/orgChart1"/>
    <dgm:cxn modelId="{2021AE50-8E76-49D2-8C93-F1CB9316D544}" type="presParOf" srcId="{A2B802F9-873C-4375-AE1C-BECA49B618A3}" destId="{637A4D5E-7925-44F7-BE08-12F07C1D17FD}" srcOrd="1" destOrd="0" presId="urn:microsoft.com/office/officeart/2005/8/layout/orgChart1"/>
    <dgm:cxn modelId="{856BBDF3-426E-48AC-B498-A39ED066C0A6}" type="presParOf" srcId="{3AB20BA5-C0E8-4DC6-829E-3AD65BD01C2B}" destId="{011A2420-DD8E-4DBF-8E56-92AA4C365963}" srcOrd="1" destOrd="0" presId="urn:microsoft.com/office/officeart/2005/8/layout/orgChart1"/>
    <dgm:cxn modelId="{B3A8619B-43B8-49B9-BCCB-77B0C1C2CECF}" type="presParOf" srcId="{3AB20BA5-C0E8-4DC6-829E-3AD65BD01C2B}" destId="{FE9F0841-56E8-4B9C-948B-83C70F1B584C}" srcOrd="2" destOrd="0" presId="urn:microsoft.com/office/officeart/2005/8/layout/orgChart1"/>
  </dgm:cxnLst>
  <dgm:bg>
    <a:noFill/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74DE3A7-0E75-4216-BF74-2D5BC1F03D95}">
      <dsp:nvSpPr>
        <dsp:cNvPr id="0" name=""/>
        <dsp:cNvSpPr/>
      </dsp:nvSpPr>
      <dsp:spPr>
        <a:xfrm>
          <a:off x="3918611" y="1581118"/>
          <a:ext cx="153852" cy="643522"/>
        </a:xfrm>
        <a:custGeom>
          <a:avLst/>
          <a:gdLst/>
          <a:ahLst/>
          <a:cxnLst/>
          <a:rect l="0" t="0" r="0" b="0"/>
          <a:pathLst>
            <a:path>
              <a:moveTo>
                <a:pt x="153852" y="0"/>
              </a:moveTo>
              <a:lnTo>
                <a:pt x="153852" y="643522"/>
              </a:lnTo>
              <a:lnTo>
                <a:pt x="0" y="643522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11D4758-9DC2-4D6D-92E9-39E1892B6DBB}">
      <dsp:nvSpPr>
        <dsp:cNvPr id="0" name=""/>
        <dsp:cNvSpPr/>
      </dsp:nvSpPr>
      <dsp:spPr>
        <a:xfrm>
          <a:off x="4072464" y="1581118"/>
          <a:ext cx="3358602" cy="1310823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64734"/>
              </a:lnTo>
              <a:lnTo>
                <a:pt x="3358602" y="1164734"/>
              </a:lnTo>
              <a:lnTo>
                <a:pt x="3358602" y="131082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2BFF4D6-0881-4DF4-80E2-D284036AA51F}">
      <dsp:nvSpPr>
        <dsp:cNvPr id="0" name=""/>
        <dsp:cNvSpPr/>
      </dsp:nvSpPr>
      <dsp:spPr>
        <a:xfrm>
          <a:off x="4072464" y="1581118"/>
          <a:ext cx="1669159" cy="1305835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59746"/>
              </a:lnTo>
              <a:lnTo>
                <a:pt x="1669159" y="1159746"/>
              </a:lnTo>
              <a:lnTo>
                <a:pt x="1669159" y="130583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CE2B19A-8961-4768-A69B-2AE52A0EA7EA}">
      <dsp:nvSpPr>
        <dsp:cNvPr id="0" name=""/>
        <dsp:cNvSpPr/>
      </dsp:nvSpPr>
      <dsp:spPr>
        <a:xfrm>
          <a:off x="4026730" y="1581118"/>
          <a:ext cx="91440" cy="1300854"/>
        </a:xfrm>
        <a:custGeom>
          <a:avLst/>
          <a:gdLst/>
          <a:ahLst/>
          <a:cxnLst/>
          <a:rect l="0" t="0" r="0" b="0"/>
          <a:pathLst>
            <a:path>
              <a:moveTo>
                <a:pt x="45733" y="0"/>
              </a:moveTo>
              <a:lnTo>
                <a:pt x="45733" y="1154765"/>
              </a:lnTo>
              <a:lnTo>
                <a:pt x="45720" y="1154765"/>
              </a:lnTo>
              <a:lnTo>
                <a:pt x="45720" y="130085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10F8147-BF4E-434E-8E6E-1C68C4257AEB}">
      <dsp:nvSpPr>
        <dsp:cNvPr id="0" name=""/>
        <dsp:cNvSpPr/>
      </dsp:nvSpPr>
      <dsp:spPr>
        <a:xfrm>
          <a:off x="2416772" y="1581118"/>
          <a:ext cx="1655691" cy="1310155"/>
        </a:xfrm>
        <a:custGeom>
          <a:avLst/>
          <a:gdLst/>
          <a:ahLst/>
          <a:cxnLst/>
          <a:rect l="0" t="0" r="0" b="0"/>
          <a:pathLst>
            <a:path>
              <a:moveTo>
                <a:pt x="1655691" y="0"/>
              </a:moveTo>
              <a:lnTo>
                <a:pt x="1655691" y="1164066"/>
              </a:lnTo>
              <a:lnTo>
                <a:pt x="0" y="1164066"/>
              </a:lnTo>
              <a:lnTo>
                <a:pt x="0" y="1310155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5651238-A75E-439B-B8BC-515A37F28039}">
      <dsp:nvSpPr>
        <dsp:cNvPr id="0" name=""/>
        <dsp:cNvSpPr/>
      </dsp:nvSpPr>
      <dsp:spPr>
        <a:xfrm>
          <a:off x="716447" y="1581118"/>
          <a:ext cx="3356016" cy="1310823"/>
        </a:xfrm>
        <a:custGeom>
          <a:avLst/>
          <a:gdLst/>
          <a:ahLst/>
          <a:cxnLst/>
          <a:rect l="0" t="0" r="0" b="0"/>
          <a:pathLst>
            <a:path>
              <a:moveTo>
                <a:pt x="3356016" y="0"/>
              </a:moveTo>
              <a:lnTo>
                <a:pt x="3356016" y="1164734"/>
              </a:lnTo>
              <a:lnTo>
                <a:pt x="0" y="1164734"/>
              </a:lnTo>
              <a:lnTo>
                <a:pt x="0" y="1310823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0651C4C-222A-44C8-9C66-F7FAA52281F0}">
      <dsp:nvSpPr>
        <dsp:cNvPr id="0" name=""/>
        <dsp:cNvSpPr/>
      </dsp:nvSpPr>
      <dsp:spPr>
        <a:xfrm>
          <a:off x="4118781" y="728902"/>
          <a:ext cx="1663955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0" y="101136"/>
              </a:lnTo>
              <a:lnTo>
                <a:pt x="1663955" y="101136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E1A80C7-D23C-493E-8105-51D7FCD8E6FA}">
      <dsp:nvSpPr>
        <dsp:cNvPr id="0" name=""/>
        <dsp:cNvSpPr/>
      </dsp:nvSpPr>
      <dsp:spPr>
        <a:xfrm>
          <a:off x="3423118" y="78960"/>
          <a:ext cx="1391325" cy="695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b="1" kern="1200" dirty="0">
              <a:solidFill>
                <a:srgbClr val="000000"/>
              </a:solidFill>
            </a:rPr>
            <a:t>Dekan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b="0" kern="1200" dirty="0">
              <a:solidFill>
                <a:schemeClr val="bg1"/>
              </a:solidFill>
            </a:rPr>
            <a:t>NAT</a:t>
          </a:r>
        </a:p>
      </dsp:txBody>
      <dsp:txXfrm>
        <a:off x="3423118" y="78960"/>
        <a:ext cx="1391325" cy="695662"/>
      </dsp:txXfrm>
    </dsp:sp>
    <dsp:sp modelId="{61165860-A574-4F55-B351-E752237F626A}">
      <dsp:nvSpPr>
        <dsp:cNvPr id="0" name=""/>
        <dsp:cNvSpPr/>
      </dsp:nvSpPr>
      <dsp:spPr>
        <a:xfrm>
          <a:off x="5782737" y="482207"/>
          <a:ext cx="1391325" cy="695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da-DK" sz="1000" b="1" kern="1200" dirty="0">
              <a:solidFill>
                <a:srgbClr val="000000"/>
              </a:solidFill>
            </a:rPr>
            <a:t>Fysisk planlægning</a:t>
          </a: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da-DK" sz="1000" kern="1200" dirty="0"/>
            <a:t>Planlægning</a:t>
          </a:r>
        </a:p>
        <a:p>
          <a:pPr marL="0" marR="0" lvl="0" indent="0" algn="ctr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da-DK" sz="1000" kern="1200" dirty="0"/>
            <a:t>Koordinering </a:t>
          </a:r>
        </a:p>
      </dsp:txBody>
      <dsp:txXfrm>
        <a:off x="5782737" y="482207"/>
        <a:ext cx="1391325" cy="695662"/>
      </dsp:txXfrm>
    </dsp:sp>
    <dsp:sp modelId="{3EED2246-B988-4C0D-B551-3654E62951EC}">
      <dsp:nvSpPr>
        <dsp:cNvPr id="0" name=""/>
        <dsp:cNvSpPr/>
      </dsp:nvSpPr>
      <dsp:spPr>
        <a:xfrm>
          <a:off x="3376801" y="885455"/>
          <a:ext cx="1391325" cy="695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b="1" kern="1200" dirty="0">
              <a:solidFill>
                <a:schemeClr val="tx1"/>
              </a:solidFill>
            </a:rPr>
            <a:t>Fakultetssekretariat</a:t>
          </a:r>
          <a:r>
            <a:rPr lang="da-DK" sz="1000" kern="1200" dirty="0">
              <a:latin typeface="Arial"/>
            </a:rPr>
            <a:t> </a:t>
          </a:r>
          <a:r>
            <a:rPr lang="da-DK" sz="1000" kern="1200" dirty="0"/>
            <a:t> </a:t>
          </a:r>
        </a:p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Strategisk udvikling Samskabelse</a:t>
          </a:r>
        </a:p>
      </dsp:txBody>
      <dsp:txXfrm>
        <a:off x="3376801" y="885455"/>
        <a:ext cx="1391325" cy="695662"/>
      </dsp:txXfrm>
    </dsp:sp>
    <dsp:sp modelId="{9940BD2E-D6A6-4A0D-AB7D-31A1A23128C1}">
      <dsp:nvSpPr>
        <dsp:cNvPr id="0" name=""/>
        <dsp:cNvSpPr/>
      </dsp:nvSpPr>
      <dsp:spPr>
        <a:xfrm>
          <a:off x="20785" y="2891942"/>
          <a:ext cx="1391325" cy="695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b="1" kern="1200" dirty="0">
              <a:solidFill>
                <a:schemeClr val="tx1"/>
              </a:solidFill>
            </a:rPr>
            <a:t>Eksterne relationer </a:t>
          </a:r>
          <a:r>
            <a:rPr lang="da-DK" sz="1000" kern="1200" dirty="0"/>
            <a:t>Forskerstøtte Myndighedsbetjening Virksomhedssamarbejder</a:t>
          </a:r>
        </a:p>
      </dsp:txBody>
      <dsp:txXfrm>
        <a:off x="20785" y="2891942"/>
        <a:ext cx="1391325" cy="695662"/>
      </dsp:txXfrm>
    </dsp:sp>
    <dsp:sp modelId="{8D97B4B7-C573-473D-9F13-2D9E19A6D742}">
      <dsp:nvSpPr>
        <dsp:cNvPr id="0" name=""/>
        <dsp:cNvSpPr/>
      </dsp:nvSpPr>
      <dsp:spPr>
        <a:xfrm>
          <a:off x="1721110" y="2891274"/>
          <a:ext cx="1391325" cy="695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b="1" kern="1200" dirty="0">
              <a:solidFill>
                <a:srgbClr val="000000"/>
              </a:solidFill>
            </a:rPr>
            <a:t>Ekstern økonomi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b="1" kern="1200" dirty="0">
              <a:solidFill>
                <a:srgbClr val="000000"/>
              </a:solidFill>
            </a:rPr>
            <a:t> </a:t>
          </a:r>
          <a:r>
            <a:rPr lang="da-DK" sz="1000" kern="1200" dirty="0" err="1">
              <a:solidFill>
                <a:srgbClr val="FFFFFF"/>
              </a:solidFill>
            </a:rPr>
            <a:t>Postaward</a:t>
          </a:r>
          <a:endParaRPr lang="da-DK" sz="1000" kern="1200" dirty="0">
            <a:solidFill>
              <a:srgbClr val="FFFFFF"/>
            </a:solidFill>
          </a:endParaRP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>
              <a:latin typeface="Arial"/>
            </a:rPr>
            <a:t>Budgetter</a:t>
          </a:r>
          <a:r>
            <a:rPr lang="da-DK" sz="1000" kern="1200" dirty="0"/>
            <a:t> </a:t>
          </a:r>
        </a:p>
        <a:p>
          <a:pPr marL="0" lvl="0" indent="0" algn="ctr" defTabSz="4445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SDU Pro</a:t>
          </a:r>
        </a:p>
      </dsp:txBody>
      <dsp:txXfrm>
        <a:off x="1721110" y="2891274"/>
        <a:ext cx="1391325" cy="695662"/>
      </dsp:txXfrm>
    </dsp:sp>
    <dsp:sp modelId="{95D13192-9FEE-489A-8538-624BEC65C90E}">
      <dsp:nvSpPr>
        <dsp:cNvPr id="0" name=""/>
        <dsp:cNvSpPr/>
      </dsp:nvSpPr>
      <dsp:spPr>
        <a:xfrm>
          <a:off x="3376787" y="2881973"/>
          <a:ext cx="1391325" cy="695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b="1" kern="1200" dirty="0">
              <a:solidFill>
                <a:schemeClr val="tx1"/>
              </a:solidFill>
            </a:rPr>
            <a:t>Økonomi</a:t>
          </a:r>
          <a:r>
            <a:rPr lang="da-DK" sz="1000" b="1" kern="1200" dirty="0">
              <a:solidFill>
                <a:schemeClr val="tx1"/>
              </a:solidFill>
              <a:latin typeface="Arial"/>
            </a:rPr>
            <a:t> </a:t>
          </a:r>
          <a:endParaRPr lang="da-DK" sz="1000" b="1" kern="1200" dirty="0">
            <a:solidFill>
              <a:schemeClr val="tx1"/>
            </a:solidFill>
          </a:endParaRPr>
        </a:p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Ordinær</a:t>
          </a:r>
          <a:r>
            <a:rPr lang="da-DK" sz="1000" kern="1200" dirty="0">
              <a:latin typeface="Arial"/>
            </a:rPr>
            <a:t> </a:t>
          </a:r>
          <a:endParaRPr lang="da-DK" sz="1000" kern="1200" dirty="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Indkøb</a:t>
          </a:r>
        </a:p>
      </dsp:txBody>
      <dsp:txXfrm>
        <a:off x="3376787" y="2881973"/>
        <a:ext cx="1391325" cy="695662"/>
      </dsp:txXfrm>
    </dsp:sp>
    <dsp:sp modelId="{F8FE08BC-72D2-4ED2-939C-53438E9F7459}">
      <dsp:nvSpPr>
        <dsp:cNvPr id="0" name=""/>
        <dsp:cNvSpPr/>
      </dsp:nvSpPr>
      <dsp:spPr>
        <a:xfrm>
          <a:off x="5045960" y="2886954"/>
          <a:ext cx="1391325" cy="695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b="1" kern="1200" dirty="0">
              <a:solidFill>
                <a:schemeClr val="tx1"/>
              </a:solidFill>
            </a:rPr>
            <a:t>Studie</a:t>
          </a:r>
        </a:p>
        <a:p>
          <a:pPr marL="0" lvl="0" indent="0" algn="ctr" defTabSz="4445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Studienævn </a:t>
          </a:r>
        </a:p>
        <a:p>
          <a:pPr marL="0" lvl="0" indent="0" algn="ctr" defTabSz="4445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 err="1"/>
            <a:t>Studieadm</a:t>
          </a:r>
          <a:endParaRPr lang="da-DK" sz="1000" kern="1200" dirty="0">
            <a:latin typeface="Arial"/>
          </a:endParaRPr>
        </a:p>
        <a:p>
          <a:pPr marL="0" lvl="0" indent="0" algn="ctr" defTabSz="4445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 </a:t>
          </a:r>
          <a:r>
            <a:rPr lang="da-DK" sz="1000" kern="1200" dirty="0" err="1"/>
            <a:t>Studievejl</a:t>
          </a:r>
          <a:endParaRPr lang="da-DK" sz="1000" kern="1200" dirty="0"/>
        </a:p>
        <a:p>
          <a:pPr marL="0" lvl="0" indent="0" algn="ctr" defTabSz="4445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E-læring</a:t>
          </a:r>
          <a:r>
            <a:rPr lang="da-DK" sz="1000" kern="1200" dirty="0">
              <a:latin typeface="Arial"/>
            </a:rPr>
            <a:t> </a:t>
          </a:r>
          <a:endParaRPr lang="da-DK" sz="1000" kern="1200" dirty="0"/>
        </a:p>
      </dsp:txBody>
      <dsp:txXfrm>
        <a:off x="5045960" y="2886954"/>
        <a:ext cx="1391325" cy="695662"/>
      </dsp:txXfrm>
    </dsp:sp>
    <dsp:sp modelId="{B45C14BB-1B61-47E1-99E9-CE93721E7CC2}">
      <dsp:nvSpPr>
        <dsp:cNvPr id="0" name=""/>
        <dsp:cNvSpPr/>
      </dsp:nvSpPr>
      <dsp:spPr>
        <a:xfrm>
          <a:off x="6735404" y="2891942"/>
          <a:ext cx="1391325" cy="695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b="1" kern="1200" dirty="0">
              <a:solidFill>
                <a:schemeClr val="tx1"/>
              </a:solidFill>
            </a:rPr>
            <a:t>Kommunikation</a:t>
          </a:r>
        </a:p>
        <a:p>
          <a:pPr marL="0" lvl="0" indent="0" algn="ctr" defTabSz="4445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 Markedsføring</a:t>
          </a:r>
        </a:p>
        <a:p>
          <a:pPr marL="0" lvl="0" indent="0" algn="ctr" defTabSz="4445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 err="1"/>
            <a:t>Outreach</a:t>
          </a:r>
          <a:r>
            <a:rPr lang="da-DK" sz="1000" kern="1200" dirty="0"/>
            <a:t> </a:t>
          </a:r>
        </a:p>
        <a:p>
          <a:pPr marL="0" lvl="0" indent="0" algn="ctr" defTabSz="4445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Forskningsformidling</a:t>
          </a:r>
        </a:p>
        <a:p>
          <a:pPr marL="0" lvl="0" indent="0" algn="ctr" defTabSz="4445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Web</a:t>
          </a:r>
        </a:p>
      </dsp:txBody>
      <dsp:txXfrm>
        <a:off x="6735404" y="2891942"/>
        <a:ext cx="1391325" cy="695662"/>
      </dsp:txXfrm>
    </dsp:sp>
    <dsp:sp modelId="{A2A5EF0A-FF0B-4312-81A0-2741BD68FBAE}">
      <dsp:nvSpPr>
        <dsp:cNvPr id="0" name=""/>
        <dsp:cNvSpPr/>
      </dsp:nvSpPr>
      <dsp:spPr>
        <a:xfrm>
          <a:off x="2527285" y="1876810"/>
          <a:ext cx="1391325" cy="695662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350" tIns="6350" rIns="6350" bIns="6350" numCol="1" spcCol="1270" anchor="ctr" anchorCtr="0">
          <a:noAutofit/>
        </a:bodyPr>
        <a:lstStyle/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b="1" kern="1200" dirty="0">
              <a:solidFill>
                <a:schemeClr val="tx1"/>
              </a:solidFill>
            </a:rPr>
            <a:t>Dekanat</a:t>
          </a:r>
          <a:r>
            <a:rPr lang="da-DK" sz="1000" kern="1200" dirty="0"/>
            <a:t> </a:t>
          </a:r>
        </a:p>
        <a:p>
          <a:pPr marL="0" lvl="0" indent="0" algn="ctr" defTabSz="4445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Ledelsesbetjening</a:t>
          </a:r>
          <a:r>
            <a:rPr lang="da-DK" sz="1000" kern="1200" dirty="0">
              <a:latin typeface="Arial"/>
            </a:rPr>
            <a:t> </a:t>
          </a:r>
          <a:endParaRPr lang="da-DK" sz="1000" kern="1200" dirty="0"/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a-DK" sz="1000" kern="1200" dirty="0"/>
            <a:t>Ph.d.</a:t>
          </a:r>
          <a:endParaRPr lang="da-DK" sz="1000" b="0" kern="1200" dirty="0">
            <a:solidFill>
              <a:schemeClr val="bg1"/>
            </a:solidFill>
          </a:endParaRPr>
        </a:p>
      </dsp:txBody>
      <dsp:txXfrm>
        <a:off x="2527285" y="1876810"/>
        <a:ext cx="1391325" cy="69566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4813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51276" y="1"/>
            <a:ext cx="2944813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231705C6-C0EA-403A-9903-85ABC7AB13D4}" type="datetimeFigureOut">
              <a:rPr lang="da-DK"/>
              <a:pPr>
                <a:defRPr/>
              </a:pPr>
              <a:t>12/09/2019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2"/>
          </p:nvPr>
        </p:nvSpPr>
        <p:spPr>
          <a:xfrm>
            <a:off x="1" y="9428711"/>
            <a:ext cx="2944813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51276" y="9428711"/>
            <a:ext cx="2944813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B536F6CF-412A-4C0A-9323-4D33B0482E8B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56349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94481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6" y="1"/>
            <a:ext cx="294481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450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5951"/>
            <a:ext cx="5438775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noProof="0"/>
              <a:t>Klik for at redigere teksttypografierne i masteren</a:t>
            </a:r>
          </a:p>
          <a:p>
            <a:pPr lvl="1"/>
            <a:r>
              <a:rPr lang="da-DK" noProof="0"/>
              <a:t>Andet niveau</a:t>
            </a:r>
          </a:p>
          <a:p>
            <a:pPr lvl="2"/>
            <a:r>
              <a:rPr lang="da-DK" noProof="0"/>
              <a:t>Tredje niveau</a:t>
            </a:r>
          </a:p>
          <a:p>
            <a:pPr lvl="3"/>
            <a:r>
              <a:rPr lang="da-DK" noProof="0"/>
              <a:t>Fjerde niveau</a:t>
            </a:r>
          </a:p>
          <a:p>
            <a:pPr lvl="4"/>
            <a:r>
              <a:rPr lang="da-DK" noProof="0"/>
              <a:t>Femte niveau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8711"/>
            <a:ext cx="294481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6" y="9428711"/>
            <a:ext cx="294481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E66E0C21-024B-4ADD-8BA0-039844C45849}" type="slidenum">
              <a:rPr lang="da-DK"/>
              <a:pPr>
                <a:defRPr/>
              </a:pPr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57177582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latin typeface="Calibri"/>
                <a:cs typeface="Calibri"/>
              </a:rPr>
              <a:t>Vi ser </a:t>
            </a:r>
            <a:r>
              <a:rPr lang="en-US" err="1">
                <a:latin typeface="Calibri"/>
                <a:cs typeface="Calibri"/>
              </a:rPr>
              <a:t>ind</a:t>
            </a:r>
            <a:r>
              <a:rPr lang="en-US">
                <a:latin typeface="Calibri"/>
                <a:cs typeface="Calibri"/>
              </a:rPr>
              <a:t> I </a:t>
            </a:r>
            <a:r>
              <a:rPr lang="en-US" err="1">
                <a:latin typeface="Calibri"/>
                <a:cs typeface="Calibri"/>
              </a:rPr>
              <a:t>denne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fremtidige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organisering</a:t>
            </a:r>
            <a:r>
              <a:rPr lang="en-US">
                <a:latin typeface="Calibri"/>
                <a:cs typeface="Calibri"/>
              </a:rPr>
              <a:t>. </a:t>
            </a:r>
            <a:r>
              <a:rPr lang="en-US" err="1">
                <a:latin typeface="Calibri"/>
                <a:cs typeface="Calibri"/>
              </a:rPr>
              <a:t>Berørte</a:t>
            </a:r>
            <a:r>
              <a:rPr lang="en-US">
                <a:latin typeface="Calibri"/>
                <a:cs typeface="Calibri"/>
              </a:rPr>
              <a:t> </a:t>
            </a:r>
            <a:r>
              <a:rPr lang="en-US" err="1">
                <a:latin typeface="Calibri"/>
                <a:cs typeface="Calibri"/>
              </a:rPr>
              <a:t>medarbejdere</a:t>
            </a:r>
            <a:r>
              <a:rPr lang="en-US">
                <a:latin typeface="Calibri"/>
                <a:cs typeface="Calibri"/>
              </a:rPr>
              <a:t> er orientere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9436F85-577F-4A92-A47F-D540A2BCC821}" type="slidenum">
              <a:rPr kumimoji="0" lang="en-GB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12329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66E0C21-024B-4ADD-8BA0-039844C45849}" type="slidenum">
              <a:rPr lang="da-DK" smtClean="0"/>
              <a:pPr>
                <a:defRPr/>
              </a:pPr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773932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bin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di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32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8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9F9913-CBB6-4642-8F9E-25A99540AC52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1059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ort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ckground">
            <a:extLst>
              <a:ext uri="{FF2B5EF4-FFF2-40B4-BE49-F238E27FC236}">
                <a16:creationId xmlns:a16="http://schemas.microsoft.com/office/drawing/2014/main" id="{BBCAF46D-9983-4AEE-9B8A-24654CDEDDB0}"/>
              </a:ext>
            </a:extLst>
          </p:cNvPr>
          <p:cNvSpPr/>
          <p:nvPr userDrawn="1"/>
        </p:nvSpPr>
        <p:spPr>
          <a:xfrm>
            <a:off x="0" y="0"/>
            <a:ext cx="91422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en-GB" sz="1200" err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039" y="1760373"/>
            <a:ext cx="7551758" cy="4070408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7050">
                <a:solidFill>
                  <a:schemeClr val="bg1"/>
                </a:solidFill>
              </a:defRPr>
            </a:lvl1pPr>
          </a:lstStyle>
          <a:p>
            <a:r>
              <a:rPr lang="en-GB"/>
              <a:t>Klik for at tilføje overskrift</a:t>
            </a:r>
          </a:p>
        </p:txBody>
      </p:sp>
      <p:sp>
        <p:nvSpPr>
          <p:cNvPr id="19" name="text" descr="{&quot;templafy&quot;:{&quot;id&quot;:&quot;4a8d67d3-cfe0-436b-b81b-d201aa9cf79f&quot;}}" title="UserProfile.Institut.InstituteDCU_{{DocumentLanguage}}">
            <a:extLst>
              <a:ext uri="{FF2B5EF4-FFF2-40B4-BE49-F238E27FC236}">
                <a16:creationId xmlns:a16="http://schemas.microsoft.com/office/drawing/2014/main" id="{610DD8E7-635C-4517-8E21-65C3CB025FFE}"/>
              </a:ext>
            </a:extLst>
          </p:cNvPr>
          <p:cNvSpPr txBox="1">
            <a:spLocks/>
          </p:cNvSpPr>
          <p:nvPr userDrawn="1"/>
        </p:nvSpPr>
        <p:spPr>
          <a:xfrm>
            <a:off x="308373" y="450893"/>
            <a:ext cx="4263628" cy="284778"/>
          </a:xfrm>
          <a:prstGeom prst="rect">
            <a:avLst/>
          </a:prstGeom>
          <a:noFill/>
        </p:spPr>
        <p:txBody>
          <a:bodyPr wrap="square" lIns="8100" tIns="0" rIns="0" bIns="6750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>
                <a:solidFill>
                  <a:schemeClr val="bg1"/>
                </a:solidFill>
              </a:rPr>
              <a:t>Faculty of Science</a:t>
            </a:r>
          </a:p>
        </p:txBody>
      </p:sp>
      <p:pic>
        <p:nvPicPr>
          <p:cNvPr id="7" name="Logo black">
            <a:extLst>
              <a:ext uri="{FF2B5EF4-FFF2-40B4-BE49-F238E27FC236}">
                <a16:creationId xmlns:a16="http://schemas.microsoft.com/office/drawing/2014/main" id="{E6E48129-FB3C-4F39-A5A1-63313B41D3C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400" y="6296400"/>
            <a:ext cx="590156" cy="212400"/>
          </a:xfrm>
          <a:prstGeom prst="rect">
            <a:avLst/>
          </a:prstGeom>
        </p:spPr>
      </p:pic>
      <p:sp>
        <p:nvSpPr>
          <p:cNvPr id="20" name="sdu.dk">
            <a:extLst>
              <a:ext uri="{FF2B5EF4-FFF2-40B4-BE49-F238E27FC236}">
                <a16:creationId xmlns:a16="http://schemas.microsoft.com/office/drawing/2014/main" id="{4B84D86E-3D20-4505-8DAD-8EB1F3E63B0A}"/>
              </a:ext>
            </a:extLst>
          </p:cNvPr>
          <p:cNvSpPr/>
          <p:nvPr userDrawn="1"/>
        </p:nvSpPr>
        <p:spPr>
          <a:xfrm rot="5400000">
            <a:off x="8496300" y="768444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bg1"/>
                </a:solidFill>
              </a:rPr>
              <a:t>sdu.dk</a:t>
            </a:r>
            <a:endParaRPr lang="en-GB"/>
          </a:p>
        </p:txBody>
      </p:sp>
      <p:sp>
        <p:nvSpPr>
          <p:cNvPr id="21" name="#sdudk">
            <a:extLst>
              <a:ext uri="{FF2B5EF4-FFF2-40B4-BE49-F238E27FC236}">
                <a16:creationId xmlns:a16="http://schemas.microsoft.com/office/drawing/2014/main" id="{B58A6A9A-5E98-43AC-8CA5-F6C4B0573364}"/>
              </a:ext>
            </a:extLst>
          </p:cNvPr>
          <p:cNvSpPr/>
          <p:nvPr userDrawn="1"/>
        </p:nvSpPr>
        <p:spPr>
          <a:xfrm rot="5400000">
            <a:off x="8497794" y="2074609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bg1"/>
                </a:solidFill>
              </a:rPr>
              <a:t>#sdudk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C739632-1CD3-47C1-98D9-4B1B2253C7C9}"/>
              </a:ext>
            </a:extLst>
          </p:cNvPr>
          <p:cNvCxnSpPr>
            <a:cxnSpLocks/>
          </p:cNvCxnSpPr>
          <p:nvPr userDrawn="1"/>
        </p:nvCxnSpPr>
        <p:spPr>
          <a:xfrm>
            <a:off x="307801" y="715665"/>
            <a:ext cx="524408" cy="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date" descr="{&quot;templafy&quot;:{&quot;id&quot;:&quot;12810e14-0634-45de-a4d7-9c811201025d&quot;}}" title="Form.Date">
            <a:extLst>
              <a:ext uri="{FF2B5EF4-FFF2-40B4-BE49-F238E27FC236}">
                <a16:creationId xmlns:a16="http://schemas.microsoft.com/office/drawing/2014/main" id="{10301B40-E355-4D99-B296-A15FB5BC3A4C}"/>
              </a:ext>
            </a:extLst>
          </p:cNvPr>
          <p:cNvSpPr/>
          <p:nvPr userDrawn="1"/>
        </p:nvSpPr>
        <p:spPr>
          <a:xfrm>
            <a:off x="6867024" y="6349385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b="0">
                <a:solidFill>
                  <a:schemeClr val="bg1"/>
                </a:solidFill>
              </a:rPr>
              <a:t>September 2019</a:t>
            </a:r>
          </a:p>
        </p:txBody>
      </p:sp>
      <p:sp>
        <p:nvSpPr>
          <p:cNvPr id="11" name="Date Placeholder 14">
            <a:extLst>
              <a:ext uri="{FF2B5EF4-FFF2-40B4-BE49-F238E27FC236}">
                <a16:creationId xmlns:a16="http://schemas.microsoft.com/office/drawing/2014/main" id="{D4E1389B-CA3B-4709-956D-F396D960BBC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14" name="Date Placeholder 14">
            <a:extLst>
              <a:ext uri="{FF2B5EF4-FFF2-40B4-BE49-F238E27FC236}">
                <a16:creationId xmlns:a16="http://schemas.microsoft.com/office/drawing/2014/main" id="{8A94F1C1-AE36-4BBA-B958-8FC614A9472A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</p:spTree>
    <p:extLst>
      <p:ext uri="{BB962C8B-B14F-4D97-AF65-F5344CB8AC3E}">
        <p14:creationId xmlns:p14="http://schemas.microsoft.com/office/powerpoint/2010/main" val="298861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vid 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62039" y="1760373"/>
            <a:ext cx="7551758" cy="4070408"/>
          </a:xfrm>
        </p:spPr>
        <p:txBody>
          <a:bodyPr anchor="t" anchorCtr="0"/>
          <a:lstStyle>
            <a:lvl1pPr algn="l">
              <a:lnSpc>
                <a:spcPct val="90000"/>
              </a:lnSpc>
              <a:defRPr sz="7050">
                <a:solidFill>
                  <a:schemeClr val="tx1"/>
                </a:solidFill>
              </a:defRPr>
            </a:lvl1pPr>
          </a:lstStyle>
          <a:p>
            <a:r>
              <a:rPr lang="en-GB"/>
              <a:t>Klik for at tilføje overskrift</a:t>
            </a:r>
          </a:p>
        </p:txBody>
      </p:sp>
      <p:sp>
        <p:nvSpPr>
          <p:cNvPr id="13" name="Date Placeholder 14">
            <a:extLst>
              <a:ext uri="{FF2B5EF4-FFF2-40B4-BE49-F238E27FC236}">
                <a16:creationId xmlns:a16="http://schemas.microsoft.com/office/drawing/2014/main" id="{5161ABAB-6DB4-433A-ACC8-A0EC0AACAD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14" name="Date Placeholder 14">
            <a:extLst>
              <a:ext uri="{FF2B5EF4-FFF2-40B4-BE49-F238E27FC236}">
                <a16:creationId xmlns:a16="http://schemas.microsoft.com/office/drawing/2014/main" id="{BC3A8B03-9EA5-416E-BD54-B87E6C4A6781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</p:spTree>
    <p:extLst>
      <p:ext uri="{BB962C8B-B14F-4D97-AF65-F5344CB8AC3E}">
        <p14:creationId xmlns:p14="http://schemas.microsoft.com/office/powerpoint/2010/main" val="14406908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reaker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AC5FF5C-5A1F-4EF8-85A8-E1370E4FA7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6" y="1000444"/>
            <a:ext cx="3713571" cy="4841557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en-GB"/>
              <a:t>Vælg pladsholderen og indsæt billede via Templafy/Skyfish eller ikon eller logo via Templafy/Billeder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023" y="1700213"/>
            <a:ext cx="4025700" cy="414178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en-GB"/>
              <a:t>Klik for at tilføje overskrift</a:t>
            </a:r>
          </a:p>
        </p:txBody>
      </p:sp>
      <p:sp>
        <p:nvSpPr>
          <p:cNvPr id="19" name="text" descr="{&quot;templafy&quot;:{&quot;id&quot;:&quot;c0a9743b-8b85-42f4-ae0d-9d007ad32b8b&quot;}}" title="UserProfile.Institut.InstituteDCU_{{DocumentLanguage}}">
            <a:extLst>
              <a:ext uri="{FF2B5EF4-FFF2-40B4-BE49-F238E27FC236}">
                <a16:creationId xmlns:a16="http://schemas.microsoft.com/office/drawing/2014/main" id="{610DD8E7-635C-4517-8E21-65C3CB025FFE}"/>
              </a:ext>
            </a:extLst>
          </p:cNvPr>
          <p:cNvSpPr txBox="1">
            <a:spLocks/>
          </p:cNvSpPr>
          <p:nvPr userDrawn="1"/>
        </p:nvSpPr>
        <p:spPr>
          <a:xfrm>
            <a:off x="308373" y="522088"/>
            <a:ext cx="4263628" cy="213584"/>
          </a:xfrm>
          <a:prstGeom prst="rect">
            <a:avLst/>
          </a:prstGeom>
          <a:noFill/>
        </p:spPr>
        <p:txBody>
          <a:bodyPr wrap="square" lIns="8100" tIns="0" rIns="0" bIns="6750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/>
              <a:t>Faculty of Science</a:t>
            </a:r>
          </a:p>
        </p:txBody>
      </p:sp>
      <p:sp>
        <p:nvSpPr>
          <p:cNvPr id="20" name="sdu.dk">
            <a:extLst>
              <a:ext uri="{FF2B5EF4-FFF2-40B4-BE49-F238E27FC236}">
                <a16:creationId xmlns:a16="http://schemas.microsoft.com/office/drawing/2014/main" id="{4B84D86E-3D20-4505-8DAD-8EB1F3E63B0A}"/>
              </a:ext>
            </a:extLst>
          </p:cNvPr>
          <p:cNvSpPr/>
          <p:nvPr userDrawn="1"/>
        </p:nvSpPr>
        <p:spPr>
          <a:xfrm rot="5400000">
            <a:off x="8496300" y="768444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sdu.dk</a:t>
            </a:r>
            <a:endParaRPr lang="en-GB"/>
          </a:p>
        </p:txBody>
      </p:sp>
      <p:sp>
        <p:nvSpPr>
          <p:cNvPr id="21" name="#sdudk">
            <a:extLst>
              <a:ext uri="{FF2B5EF4-FFF2-40B4-BE49-F238E27FC236}">
                <a16:creationId xmlns:a16="http://schemas.microsoft.com/office/drawing/2014/main" id="{B58A6A9A-5E98-43AC-8CA5-F6C4B0573364}"/>
              </a:ext>
            </a:extLst>
          </p:cNvPr>
          <p:cNvSpPr/>
          <p:nvPr userDrawn="1"/>
        </p:nvSpPr>
        <p:spPr>
          <a:xfrm rot="5400000">
            <a:off x="8497794" y="2074609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#sdudk</a:t>
            </a:r>
            <a:endParaRPr lang="en-GB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EEFBD90C-157B-45E5-8A90-9560C86CAB4C}"/>
              </a:ext>
            </a:extLst>
          </p:cNvPr>
          <p:cNvCxnSpPr>
            <a:cxnSpLocks/>
          </p:cNvCxnSpPr>
          <p:nvPr userDrawn="1"/>
        </p:nvCxnSpPr>
        <p:spPr>
          <a:xfrm>
            <a:off x="307801" y="715665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date" descr="{&quot;templafy&quot;:{&quot;id&quot;:&quot;bc0e7bee-3e25-4ada-ac50-774d1c023f9b&quot;}}" title="Form.Date">
            <a:extLst>
              <a:ext uri="{FF2B5EF4-FFF2-40B4-BE49-F238E27FC236}">
                <a16:creationId xmlns:a16="http://schemas.microsoft.com/office/drawing/2014/main" id="{508E925B-663E-4A1A-8916-BC4FCFEA746C}"/>
              </a:ext>
            </a:extLst>
          </p:cNvPr>
          <p:cNvSpPr/>
          <p:nvPr userDrawn="1"/>
        </p:nvSpPr>
        <p:spPr>
          <a:xfrm>
            <a:off x="6867024" y="6349385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b="0">
                <a:solidFill>
                  <a:schemeClr val="tx1"/>
                </a:solidFill>
              </a:rPr>
              <a:t>September 2019</a:t>
            </a:r>
          </a:p>
        </p:txBody>
      </p:sp>
      <p:pic>
        <p:nvPicPr>
          <p:cNvPr id="13" name="Logo black">
            <a:extLst>
              <a:ext uri="{FF2B5EF4-FFF2-40B4-BE49-F238E27FC236}">
                <a16:creationId xmlns:a16="http://schemas.microsoft.com/office/drawing/2014/main" id="{8790A71A-B09B-4B5F-9D31-846A17201C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10" y="6294893"/>
            <a:ext cx="588600" cy="211840"/>
          </a:xfrm>
          <a:prstGeom prst="rect">
            <a:avLst/>
          </a:prstGeom>
        </p:spPr>
      </p:pic>
      <p:sp>
        <p:nvSpPr>
          <p:cNvPr id="17" name="Date Placeholder 14">
            <a:extLst>
              <a:ext uri="{FF2B5EF4-FFF2-40B4-BE49-F238E27FC236}">
                <a16:creationId xmlns:a16="http://schemas.microsoft.com/office/drawing/2014/main" id="{D63CFED0-47FC-4852-81C1-6B705FD6417D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2565F4-7FB3-4F2B-AED8-4859D42935AE}"/>
              </a:ext>
            </a:extLst>
          </p:cNvPr>
          <p:cNvSpPr txBox="1"/>
          <p:nvPr userDrawn="1"/>
        </p:nvSpPr>
        <p:spPr>
          <a:xfrm>
            <a:off x="1" y="-349741"/>
            <a:ext cx="8592887" cy="2425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88" b="1" noProof="1"/>
              <a:t>Skift baggrundsfarve. </a:t>
            </a:r>
            <a:r>
              <a:rPr lang="en-GB" sz="788" noProof="1"/>
              <a:t>Højreklik på slidet og vælg </a:t>
            </a:r>
            <a:r>
              <a:rPr lang="en-GB" sz="788" b="1" noProof="1"/>
              <a:t>Formatér baggrund</a:t>
            </a:r>
            <a:r>
              <a:rPr lang="en-GB" sz="788" noProof="1"/>
              <a:t>. Klik på </a:t>
            </a:r>
            <a:r>
              <a:rPr lang="en-GB" sz="788" b="1" noProof="1"/>
              <a:t>Fyld farve </a:t>
            </a:r>
            <a:r>
              <a:rPr lang="en-GB" sz="788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8829352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023" y="1700213"/>
            <a:ext cx="4025700" cy="4141787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3300">
                <a:solidFill>
                  <a:schemeClr val="tx1"/>
                </a:solidFill>
              </a:defRPr>
            </a:lvl1pPr>
          </a:lstStyle>
          <a:p>
            <a:r>
              <a:rPr lang="en-GB"/>
              <a:t>Klik for at tilføje overskrift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A915360E-F247-49FB-821B-5399F132647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6" y="1000444"/>
            <a:ext cx="3713571" cy="4841557"/>
          </a:xfrm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en-GB"/>
              <a:t>Vælg pladsholderen og indsæt billede via Templafy/Skyfish eller ikon eller logo via Templafy/Billeder</a:t>
            </a:r>
          </a:p>
        </p:txBody>
      </p:sp>
      <p:sp>
        <p:nvSpPr>
          <p:cNvPr id="7" name="Date Placeholder 14">
            <a:extLst>
              <a:ext uri="{FF2B5EF4-FFF2-40B4-BE49-F238E27FC236}">
                <a16:creationId xmlns:a16="http://schemas.microsoft.com/office/drawing/2014/main" id="{FB068F22-0263-44BB-8333-C5643293F3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8" name="Date Placeholder 14">
            <a:extLst>
              <a:ext uri="{FF2B5EF4-FFF2-40B4-BE49-F238E27FC236}">
                <a16:creationId xmlns:a16="http://schemas.microsoft.com/office/drawing/2014/main" id="{2D08A2CA-4B19-4B39-B540-F97244C446A4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EB9F81D-3EAD-42E8-88EC-432C25D7A8F9}"/>
              </a:ext>
            </a:extLst>
          </p:cNvPr>
          <p:cNvSpPr txBox="1"/>
          <p:nvPr userDrawn="1"/>
        </p:nvSpPr>
        <p:spPr>
          <a:xfrm>
            <a:off x="1" y="-349741"/>
            <a:ext cx="8592887" cy="2425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88" b="1" noProof="1"/>
              <a:t>Skift baggrundsfarve. </a:t>
            </a:r>
            <a:r>
              <a:rPr lang="en-GB" sz="788" noProof="1"/>
              <a:t>Højreklik på slidet og vælg </a:t>
            </a:r>
            <a:r>
              <a:rPr lang="en-GB" sz="788" b="1" noProof="1"/>
              <a:t>Formatér baggrund</a:t>
            </a:r>
            <a:r>
              <a:rPr lang="en-GB" sz="788" noProof="1"/>
              <a:t>. Klik på </a:t>
            </a:r>
            <a:r>
              <a:rPr lang="en-GB" sz="788" b="1" noProof="1"/>
              <a:t>Fyld farve </a:t>
            </a:r>
            <a:r>
              <a:rPr lang="en-GB" sz="788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232238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 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023" y="1700213"/>
            <a:ext cx="4025700" cy="414178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GB"/>
              <a:t>Klik for at tilføje overskrif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D41ADC-5992-4476-8E55-8A709AA1B4B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005017" y="1700212"/>
            <a:ext cx="3520440" cy="414178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Klik for at tilføje tekst, klik ikon for at tilføje graf/tabel</a:t>
            </a:r>
          </a:p>
          <a:p>
            <a:pPr lvl="1"/>
            <a:r>
              <a:rPr lang="en-GB"/>
              <a:t>Second </a:t>
            </a:r>
            <a:r>
              <a:rPr lang="en-GB" err="1"/>
              <a:t>level</a:t>
            </a:r>
            <a:endParaRPr lang="en-GB"/>
          </a:p>
          <a:p>
            <a:pPr lvl="2"/>
            <a:r>
              <a:rPr lang="en-GB"/>
              <a:t>Third </a:t>
            </a:r>
            <a:r>
              <a:rPr lang="en-GB" err="1"/>
              <a:t>level</a:t>
            </a:r>
            <a:endParaRPr lang="en-GB"/>
          </a:p>
          <a:p>
            <a:pPr lvl="3"/>
            <a:r>
              <a:rPr lang="en-GB" err="1"/>
              <a:t>Fourth</a:t>
            </a:r>
            <a:r>
              <a:rPr lang="en-GB"/>
              <a:t> </a:t>
            </a:r>
            <a:r>
              <a:rPr lang="en-GB" err="1"/>
              <a:t>level</a:t>
            </a:r>
            <a:endParaRPr lang="en-GB"/>
          </a:p>
          <a:p>
            <a:pPr lvl="4"/>
            <a:r>
              <a:rPr lang="en-GB"/>
              <a:t>Fifth </a:t>
            </a:r>
            <a:r>
              <a:rPr lang="en-GB" err="1"/>
              <a:t>level</a:t>
            </a:r>
            <a:endParaRPr lang="en-GB"/>
          </a:p>
        </p:txBody>
      </p:sp>
      <p:sp>
        <p:nvSpPr>
          <p:cNvPr id="10" name="Date Placeholder 14">
            <a:extLst>
              <a:ext uri="{FF2B5EF4-FFF2-40B4-BE49-F238E27FC236}">
                <a16:creationId xmlns:a16="http://schemas.microsoft.com/office/drawing/2014/main" id="{BBCDE8CE-8147-4B12-B358-7B7ACA92FF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11" name="Date Placeholder 14">
            <a:extLst>
              <a:ext uri="{FF2B5EF4-FFF2-40B4-BE49-F238E27FC236}">
                <a16:creationId xmlns:a16="http://schemas.microsoft.com/office/drawing/2014/main" id="{7ACE2053-07AA-42FA-A789-E1430CAF7988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D490B9-04D5-4C98-9BAE-36CAE61DE34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DCBB1C-1FE3-42F2-ACED-70B0664062B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29370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CC1A9A-6ADC-4F72-A312-ED1DBEF01B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801" y="1028247"/>
            <a:ext cx="4024700" cy="1884283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lik for at tilføje overskrif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256969-981A-4869-9324-B595DF89D12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617000" y="1028246"/>
            <a:ext cx="3912300" cy="482535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Klik for at tilføje tekst, klik ikon for at tilføje graf/tabel</a:t>
            </a:r>
          </a:p>
          <a:p>
            <a:pPr lvl="1"/>
            <a:r>
              <a:rPr lang="en-GB"/>
              <a:t>Second </a:t>
            </a:r>
            <a:r>
              <a:rPr lang="en-GB" err="1"/>
              <a:t>level</a:t>
            </a:r>
            <a:endParaRPr lang="en-GB"/>
          </a:p>
          <a:p>
            <a:pPr lvl="2"/>
            <a:r>
              <a:rPr lang="en-GB"/>
              <a:t>Third </a:t>
            </a:r>
            <a:r>
              <a:rPr lang="en-GB" err="1"/>
              <a:t>level</a:t>
            </a:r>
            <a:endParaRPr lang="en-GB"/>
          </a:p>
          <a:p>
            <a:pPr lvl="3"/>
            <a:r>
              <a:rPr lang="en-GB" err="1"/>
              <a:t>Fourth</a:t>
            </a:r>
            <a:r>
              <a:rPr lang="en-GB"/>
              <a:t> </a:t>
            </a:r>
            <a:r>
              <a:rPr lang="en-GB" err="1"/>
              <a:t>level</a:t>
            </a:r>
            <a:endParaRPr lang="en-GB"/>
          </a:p>
          <a:p>
            <a:pPr lvl="4"/>
            <a:r>
              <a:rPr lang="en-GB"/>
              <a:t>Fifth </a:t>
            </a:r>
            <a:r>
              <a:rPr lang="en-GB" err="1"/>
              <a:t>level</a:t>
            </a:r>
            <a:endParaRPr lang="en-GB"/>
          </a:p>
        </p:txBody>
      </p:sp>
      <p:sp>
        <p:nvSpPr>
          <p:cNvPr id="16" name="sdu.dk">
            <a:extLst>
              <a:ext uri="{FF2B5EF4-FFF2-40B4-BE49-F238E27FC236}">
                <a16:creationId xmlns:a16="http://schemas.microsoft.com/office/drawing/2014/main" id="{406E07B7-D9E4-488D-BA7B-56AC0D1DDD05}"/>
              </a:ext>
            </a:extLst>
          </p:cNvPr>
          <p:cNvSpPr/>
          <p:nvPr userDrawn="1"/>
        </p:nvSpPr>
        <p:spPr>
          <a:xfrm rot="5400000">
            <a:off x="8496300" y="768444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sdu.dk</a:t>
            </a:r>
            <a:endParaRPr lang="en-GB"/>
          </a:p>
        </p:txBody>
      </p:sp>
      <p:sp>
        <p:nvSpPr>
          <p:cNvPr id="17" name="#sdudk">
            <a:extLst>
              <a:ext uri="{FF2B5EF4-FFF2-40B4-BE49-F238E27FC236}">
                <a16:creationId xmlns:a16="http://schemas.microsoft.com/office/drawing/2014/main" id="{CD1A1828-0ED2-4AFE-8C5E-683996CBAF9D}"/>
              </a:ext>
            </a:extLst>
          </p:cNvPr>
          <p:cNvSpPr/>
          <p:nvPr userDrawn="1"/>
        </p:nvSpPr>
        <p:spPr>
          <a:xfrm rot="5400000">
            <a:off x="8497794" y="2074609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#sdudk</a:t>
            </a:r>
            <a:endParaRPr lang="en-GB"/>
          </a:p>
        </p:txBody>
      </p:sp>
      <p:sp>
        <p:nvSpPr>
          <p:cNvPr id="19" name="date" descr="{&quot;templafy&quot;:{&quot;id&quot;:&quot;f82a387e-71fe-4532-ace8-e0b201ef4913&quot;}}" title="Form.Date">
            <a:extLst>
              <a:ext uri="{FF2B5EF4-FFF2-40B4-BE49-F238E27FC236}">
                <a16:creationId xmlns:a16="http://schemas.microsoft.com/office/drawing/2014/main" id="{38150A77-BE4E-404D-B314-A1C41C791C1B}"/>
              </a:ext>
            </a:extLst>
          </p:cNvPr>
          <p:cNvSpPr/>
          <p:nvPr userDrawn="1"/>
        </p:nvSpPr>
        <p:spPr>
          <a:xfrm>
            <a:off x="6867024" y="6349385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b="0">
                <a:solidFill>
                  <a:schemeClr val="tx1"/>
                </a:solidFill>
              </a:rPr>
              <a:t>September 2019</a:t>
            </a:r>
          </a:p>
        </p:txBody>
      </p:sp>
      <p:sp>
        <p:nvSpPr>
          <p:cNvPr id="15" name="text" descr="{&quot;templafy&quot;:{&quot;id&quot;:&quot;a622c636-b99d-41eb-b4cc-781eeab35db2&quot;}}" title="UserProfile.Institut.InstituteDCU_{{DocumentLanguage}}">
            <a:extLst>
              <a:ext uri="{FF2B5EF4-FFF2-40B4-BE49-F238E27FC236}">
                <a16:creationId xmlns:a16="http://schemas.microsoft.com/office/drawing/2014/main" id="{964E632B-B9F2-4547-AC03-2C579124053E}"/>
              </a:ext>
            </a:extLst>
          </p:cNvPr>
          <p:cNvSpPr txBox="1">
            <a:spLocks/>
          </p:cNvSpPr>
          <p:nvPr userDrawn="1"/>
        </p:nvSpPr>
        <p:spPr>
          <a:xfrm>
            <a:off x="308373" y="522088"/>
            <a:ext cx="4263628" cy="213584"/>
          </a:xfrm>
          <a:prstGeom prst="rect">
            <a:avLst/>
          </a:prstGeom>
          <a:noFill/>
        </p:spPr>
        <p:txBody>
          <a:bodyPr wrap="square" lIns="8100" tIns="0" rIns="0" bIns="6750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/>
              <a:t>Faculty of Science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D6B1FAA-D7ED-4C71-8DC4-E5439F01BCEB}"/>
              </a:ext>
            </a:extLst>
          </p:cNvPr>
          <p:cNvCxnSpPr>
            <a:cxnSpLocks/>
          </p:cNvCxnSpPr>
          <p:nvPr userDrawn="1"/>
        </p:nvCxnSpPr>
        <p:spPr>
          <a:xfrm>
            <a:off x="307801" y="715665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Logo black">
            <a:extLst>
              <a:ext uri="{FF2B5EF4-FFF2-40B4-BE49-F238E27FC236}">
                <a16:creationId xmlns:a16="http://schemas.microsoft.com/office/drawing/2014/main" id="{CAAF367F-3818-457C-9EE1-320E9050AE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10" y="6294893"/>
            <a:ext cx="588600" cy="211840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0F779A9-E4FE-4412-9D9E-BF5BF84D02AB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96ECF2D-BB4C-4004-9F8E-08239A46461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B5949DE-6D77-480D-A4A9-E2E53BE1CE8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E75150F5-CFA6-40F1-B2B7-79337C2232BB}"/>
              </a:ext>
            </a:extLst>
          </p:cNvPr>
          <p:cNvSpPr txBox="1"/>
          <p:nvPr userDrawn="1"/>
        </p:nvSpPr>
        <p:spPr>
          <a:xfrm>
            <a:off x="1" y="-349741"/>
            <a:ext cx="8592887" cy="2425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88" b="1" noProof="1"/>
              <a:t>Skift baggrundsfarve. </a:t>
            </a:r>
            <a:r>
              <a:rPr lang="en-GB" sz="788" noProof="1"/>
              <a:t>Højreklik på slidet og vælg </a:t>
            </a:r>
            <a:r>
              <a:rPr lang="en-GB" sz="788" b="1" noProof="1"/>
              <a:t>Formatér baggrund</a:t>
            </a:r>
            <a:r>
              <a:rPr lang="en-GB" sz="788" noProof="1"/>
              <a:t>. Klik på </a:t>
            </a:r>
            <a:r>
              <a:rPr lang="en-GB" sz="788" b="1" noProof="1"/>
              <a:t>Fyld farve </a:t>
            </a:r>
            <a:r>
              <a:rPr lang="en-GB" sz="788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10929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indhold 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023" y="999173"/>
            <a:ext cx="8214434" cy="70104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GB"/>
              <a:t>Klik for at tilføje overskrift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A9D41ADC-5992-4476-8E55-8A709AA1B4B5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11022" y="1989138"/>
            <a:ext cx="8214435" cy="38528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Klik for at tilføje tekst, klik ikon for at tilføje graf/tabel</a:t>
            </a:r>
          </a:p>
          <a:p>
            <a:pPr lvl="1"/>
            <a:r>
              <a:rPr lang="en-GB"/>
              <a:t>Second </a:t>
            </a:r>
            <a:r>
              <a:rPr lang="en-GB" err="1"/>
              <a:t>level</a:t>
            </a:r>
            <a:endParaRPr lang="en-GB"/>
          </a:p>
          <a:p>
            <a:pPr lvl="2"/>
            <a:r>
              <a:rPr lang="en-GB"/>
              <a:t>Third </a:t>
            </a:r>
            <a:r>
              <a:rPr lang="en-GB" err="1"/>
              <a:t>level</a:t>
            </a:r>
            <a:endParaRPr lang="en-GB"/>
          </a:p>
          <a:p>
            <a:pPr lvl="3"/>
            <a:r>
              <a:rPr lang="en-GB" err="1"/>
              <a:t>Fourth</a:t>
            </a:r>
            <a:r>
              <a:rPr lang="en-GB"/>
              <a:t> </a:t>
            </a:r>
            <a:r>
              <a:rPr lang="en-GB" err="1"/>
              <a:t>level</a:t>
            </a:r>
            <a:endParaRPr lang="en-GB"/>
          </a:p>
          <a:p>
            <a:pPr lvl="4"/>
            <a:r>
              <a:rPr lang="en-GB"/>
              <a:t>Fifth </a:t>
            </a:r>
            <a:r>
              <a:rPr lang="en-GB" err="1"/>
              <a:t>level</a:t>
            </a:r>
            <a:endParaRPr lang="en-GB"/>
          </a:p>
        </p:txBody>
      </p:sp>
      <p:sp>
        <p:nvSpPr>
          <p:cNvPr id="10" name="Date Placeholder 14">
            <a:extLst>
              <a:ext uri="{FF2B5EF4-FFF2-40B4-BE49-F238E27FC236}">
                <a16:creationId xmlns:a16="http://schemas.microsoft.com/office/drawing/2014/main" id="{BBCDE8CE-8147-4B12-B358-7B7ACA92FF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11" name="Date Placeholder 14">
            <a:extLst>
              <a:ext uri="{FF2B5EF4-FFF2-40B4-BE49-F238E27FC236}">
                <a16:creationId xmlns:a16="http://schemas.microsoft.com/office/drawing/2014/main" id="{7ACE2053-07AA-42FA-A789-E1430CAF7988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BD490B9-04D5-4C98-9BAE-36CAE61DE34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DCBB1C-1FE3-42F2-ACED-70B0664062B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7773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dhold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9151" y="1006605"/>
            <a:ext cx="3510000" cy="1938338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GB"/>
              <a:t>Klik for at tilføje overskrift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CB99C08-64C3-4ADA-9CD2-FBE2ED8551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019151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Klik for at tilføje tekst</a:t>
            </a:r>
          </a:p>
          <a:p>
            <a:pPr lvl="1"/>
            <a:r>
              <a:rPr lang="en-GB"/>
              <a:t>Second </a:t>
            </a:r>
            <a:r>
              <a:rPr lang="en-GB" err="1"/>
              <a:t>level</a:t>
            </a:r>
            <a:endParaRPr lang="en-GB"/>
          </a:p>
          <a:p>
            <a:pPr lvl="2"/>
            <a:r>
              <a:rPr lang="en-GB"/>
              <a:t>Third </a:t>
            </a:r>
            <a:r>
              <a:rPr lang="en-GB" err="1"/>
              <a:t>level</a:t>
            </a:r>
            <a:endParaRPr lang="en-GB"/>
          </a:p>
          <a:p>
            <a:pPr lvl="3"/>
            <a:r>
              <a:rPr lang="en-GB" err="1"/>
              <a:t>Fourth</a:t>
            </a:r>
            <a:r>
              <a:rPr lang="en-GB"/>
              <a:t> </a:t>
            </a:r>
            <a:r>
              <a:rPr lang="en-GB" err="1"/>
              <a:t>level</a:t>
            </a:r>
            <a:endParaRPr lang="en-GB"/>
          </a:p>
          <a:p>
            <a:pPr lvl="4"/>
            <a:r>
              <a:rPr lang="en-GB"/>
              <a:t>Fifth </a:t>
            </a:r>
            <a:r>
              <a:rPr lang="en-GB" err="1"/>
              <a:t>level</a:t>
            </a:r>
            <a:endParaRPr lang="en-GB"/>
          </a:p>
        </p:txBody>
      </p:sp>
      <p:sp>
        <p:nvSpPr>
          <p:cNvPr id="19" name="text" descr="{&quot;templafy&quot;:{&quot;id&quot;:&quot;ee63f920-83ca-4802-8965-b56fac1647de&quot;}}" title="UserProfile.Institut.InstituteDCU_{{DocumentLanguage}}">
            <a:extLst>
              <a:ext uri="{FF2B5EF4-FFF2-40B4-BE49-F238E27FC236}">
                <a16:creationId xmlns:a16="http://schemas.microsoft.com/office/drawing/2014/main" id="{610DD8E7-635C-4517-8E21-65C3CB025FFE}"/>
              </a:ext>
            </a:extLst>
          </p:cNvPr>
          <p:cNvSpPr txBox="1">
            <a:spLocks/>
          </p:cNvSpPr>
          <p:nvPr userDrawn="1"/>
        </p:nvSpPr>
        <p:spPr>
          <a:xfrm>
            <a:off x="308373" y="522088"/>
            <a:ext cx="4263628" cy="213584"/>
          </a:xfrm>
          <a:prstGeom prst="rect">
            <a:avLst/>
          </a:prstGeom>
          <a:noFill/>
        </p:spPr>
        <p:txBody>
          <a:bodyPr wrap="square" lIns="8100" tIns="0" rIns="0" bIns="6750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/>
              <a:t>Faculty of Science</a:t>
            </a:r>
          </a:p>
        </p:txBody>
      </p:sp>
      <p:sp>
        <p:nvSpPr>
          <p:cNvPr id="20" name="sdu.dk">
            <a:extLst>
              <a:ext uri="{FF2B5EF4-FFF2-40B4-BE49-F238E27FC236}">
                <a16:creationId xmlns:a16="http://schemas.microsoft.com/office/drawing/2014/main" id="{4B84D86E-3D20-4505-8DAD-8EB1F3E63B0A}"/>
              </a:ext>
            </a:extLst>
          </p:cNvPr>
          <p:cNvSpPr/>
          <p:nvPr userDrawn="1"/>
        </p:nvSpPr>
        <p:spPr>
          <a:xfrm rot="5400000">
            <a:off x="8496300" y="768444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sdu.dk</a:t>
            </a:r>
            <a:endParaRPr lang="en-GB"/>
          </a:p>
        </p:txBody>
      </p:sp>
      <p:sp>
        <p:nvSpPr>
          <p:cNvPr id="21" name="#sdudk">
            <a:extLst>
              <a:ext uri="{FF2B5EF4-FFF2-40B4-BE49-F238E27FC236}">
                <a16:creationId xmlns:a16="http://schemas.microsoft.com/office/drawing/2014/main" id="{B58A6A9A-5E98-43AC-8CA5-F6C4B0573364}"/>
              </a:ext>
            </a:extLst>
          </p:cNvPr>
          <p:cNvSpPr/>
          <p:nvPr userDrawn="1"/>
        </p:nvSpPr>
        <p:spPr>
          <a:xfrm rot="5400000">
            <a:off x="8497794" y="2074609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#sdudk</a:t>
            </a:r>
            <a:endParaRPr lang="en-GB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EA2A3A-0B73-49AA-824B-85FAE9B16B10}"/>
              </a:ext>
            </a:extLst>
          </p:cNvPr>
          <p:cNvCxnSpPr>
            <a:cxnSpLocks/>
          </p:cNvCxnSpPr>
          <p:nvPr userDrawn="1"/>
        </p:nvCxnSpPr>
        <p:spPr>
          <a:xfrm>
            <a:off x="307801" y="715665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date" descr="{&quot;templafy&quot;:{&quot;id&quot;:&quot;bc712708-b642-4e6b-9337-42e1d186d9c4&quot;}}" title="Form.Date">
            <a:extLst>
              <a:ext uri="{FF2B5EF4-FFF2-40B4-BE49-F238E27FC236}">
                <a16:creationId xmlns:a16="http://schemas.microsoft.com/office/drawing/2014/main" id="{6189AE65-D68D-4102-AA1D-2A3BCB6F21BF}"/>
              </a:ext>
            </a:extLst>
          </p:cNvPr>
          <p:cNvSpPr/>
          <p:nvPr userDrawn="1"/>
        </p:nvSpPr>
        <p:spPr>
          <a:xfrm>
            <a:off x="6867024" y="6349385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b="0">
                <a:solidFill>
                  <a:schemeClr val="tx1"/>
                </a:solidFill>
              </a:rPr>
              <a:t>September 2019</a:t>
            </a:r>
          </a:p>
        </p:txBody>
      </p:sp>
      <p:pic>
        <p:nvPicPr>
          <p:cNvPr id="16" name="Logo black">
            <a:extLst>
              <a:ext uri="{FF2B5EF4-FFF2-40B4-BE49-F238E27FC236}">
                <a16:creationId xmlns:a16="http://schemas.microsoft.com/office/drawing/2014/main" id="{B52757AD-346A-4AA0-A5D6-36F8B1FE48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10" y="6294893"/>
            <a:ext cx="588600" cy="211840"/>
          </a:xfrm>
          <a:prstGeom prst="rect">
            <a:avLst/>
          </a:prstGeom>
        </p:spPr>
      </p:pic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A09FC7B4-885C-4F9D-BD71-AE2FBDB38698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B8FEE58-0FE9-4218-904C-188D46CD214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316824" y="1000444"/>
            <a:ext cx="3808024" cy="485315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Klik for at tilføje tekst, klik ikon for at tilføje graf/tabel</a:t>
            </a:r>
          </a:p>
          <a:p>
            <a:pPr lvl="1"/>
            <a:r>
              <a:rPr lang="en-GB"/>
              <a:t>Second </a:t>
            </a:r>
            <a:r>
              <a:rPr lang="en-GB" err="1"/>
              <a:t>level</a:t>
            </a:r>
            <a:endParaRPr lang="en-GB"/>
          </a:p>
          <a:p>
            <a:pPr lvl="2"/>
            <a:r>
              <a:rPr lang="en-GB"/>
              <a:t>Third </a:t>
            </a:r>
            <a:r>
              <a:rPr lang="en-GB" err="1"/>
              <a:t>level</a:t>
            </a:r>
            <a:endParaRPr lang="en-GB"/>
          </a:p>
          <a:p>
            <a:pPr lvl="3"/>
            <a:r>
              <a:rPr lang="en-GB" err="1"/>
              <a:t>Fourth</a:t>
            </a:r>
            <a:r>
              <a:rPr lang="en-GB"/>
              <a:t> </a:t>
            </a:r>
            <a:r>
              <a:rPr lang="en-GB" err="1"/>
              <a:t>level</a:t>
            </a:r>
            <a:endParaRPr lang="en-GB"/>
          </a:p>
          <a:p>
            <a:pPr lvl="4"/>
            <a:r>
              <a:rPr lang="en-GB"/>
              <a:t>Fifth </a:t>
            </a:r>
            <a:r>
              <a:rPr lang="en-GB" err="1"/>
              <a:t>level</a:t>
            </a:r>
            <a:endParaRPr lang="en-GB"/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3F302217-B569-449A-8422-B6650C9BB084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DF36464C-AEF7-4BFD-9A97-813102BCA48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58D7263E-B2E5-4CB9-9AAF-C0006E4A040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1BBAA208-28D6-470D-B539-73F9AC20E86C}"/>
              </a:ext>
            </a:extLst>
          </p:cNvPr>
          <p:cNvSpPr txBox="1"/>
          <p:nvPr userDrawn="1"/>
        </p:nvSpPr>
        <p:spPr>
          <a:xfrm>
            <a:off x="1" y="-349741"/>
            <a:ext cx="8592887" cy="2425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88" b="1" noProof="1"/>
              <a:t>Skift baggrundsfarve. </a:t>
            </a:r>
            <a:r>
              <a:rPr lang="en-GB" sz="788" noProof="1"/>
              <a:t>Højreklik på slidet og vælg </a:t>
            </a:r>
            <a:r>
              <a:rPr lang="en-GB" sz="788" b="1" noProof="1"/>
              <a:t>Formatér baggrund</a:t>
            </a:r>
            <a:r>
              <a:rPr lang="en-GB" sz="788" noProof="1"/>
              <a:t>. Klik på </a:t>
            </a:r>
            <a:r>
              <a:rPr lang="en-GB" sz="788" b="1" noProof="1"/>
              <a:t>Fyld farve </a:t>
            </a:r>
            <a:r>
              <a:rPr lang="en-GB" sz="788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84797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13B9A67-E62D-400C-BC42-A3A96AAED2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7801" y="1028247"/>
            <a:ext cx="1876500" cy="432000"/>
          </a:xfrm>
        </p:spPr>
        <p:txBody>
          <a:bodyPr/>
          <a:lstStyle>
            <a:lvl1pPr>
              <a:lnSpc>
                <a:spcPct val="110000"/>
              </a:lnSpc>
              <a:defRPr sz="900"/>
            </a:lvl1pPr>
          </a:lstStyle>
          <a:p>
            <a:r>
              <a:rPr lang="en-GB" noProof="0"/>
              <a:t>Klik for at tilføje underoverskrift</a:t>
            </a:r>
            <a:endParaRPr lang="en-GB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E60E8CAC-51BD-4862-8B6E-BD3E315677C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308372" y="1475354"/>
            <a:ext cx="1876500" cy="436664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noProof="0"/>
              <a:t>Klik for at tilføje tekst</a:t>
            </a:r>
            <a:endParaRPr lang="en-GB"/>
          </a:p>
          <a:p>
            <a:pPr lvl="1"/>
            <a:r>
              <a:rPr lang="en-GB" noProof="0"/>
              <a:t>Second </a:t>
            </a:r>
            <a:r>
              <a:rPr lang="en-GB" noProof="0" err="1"/>
              <a:t>level</a:t>
            </a:r>
            <a:endParaRPr lang="en-GB" noProof="0"/>
          </a:p>
          <a:p>
            <a:pPr lvl="2"/>
            <a:r>
              <a:rPr lang="en-GB" noProof="0"/>
              <a:t>Third </a:t>
            </a:r>
            <a:r>
              <a:rPr lang="en-GB" noProof="0" err="1"/>
              <a:t>level</a:t>
            </a:r>
            <a:endParaRPr lang="en-GB" noProof="0"/>
          </a:p>
          <a:p>
            <a:pPr lvl="3"/>
            <a:r>
              <a:rPr lang="en-GB" noProof="0" err="1"/>
              <a:t>Fourth</a:t>
            </a:r>
            <a:r>
              <a:rPr lang="en-GB" noProof="0"/>
              <a:t> </a:t>
            </a:r>
            <a:r>
              <a:rPr lang="en-GB" noProof="0" err="1"/>
              <a:t>level</a:t>
            </a:r>
            <a:endParaRPr lang="en-GB" noProof="0"/>
          </a:p>
          <a:p>
            <a:pPr lvl="4"/>
            <a:r>
              <a:rPr lang="en-GB" noProof="0"/>
              <a:t>Fifth </a:t>
            </a:r>
            <a:r>
              <a:rPr lang="en-GB" noProof="0" err="1"/>
              <a:t>level</a:t>
            </a:r>
            <a:endParaRPr lang="en-GB" noProof="0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id="{25135A09-8F8A-4D87-8C43-B3A0A80BE2F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54873" y="1028246"/>
            <a:ext cx="1876500" cy="432000"/>
          </a:xfrm>
        </p:spPr>
        <p:txBody>
          <a:bodyPr/>
          <a:lstStyle>
            <a:lvl1pPr marL="0" indent="0" algn="l">
              <a:buNone/>
              <a:defRPr sz="900" b="1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GB" noProof="0"/>
              <a:t>Klik for at tilføje underoverskrift</a:t>
            </a:r>
            <a:endParaRPr lang="en-GB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462D92C6-668E-491E-B394-72897FAB3085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2454872" y="1475354"/>
            <a:ext cx="1876500" cy="436664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noProof="0"/>
              <a:t>Klik for at tilføje tekst</a:t>
            </a:r>
            <a:endParaRPr lang="en-GB"/>
          </a:p>
          <a:p>
            <a:pPr lvl="1"/>
            <a:r>
              <a:rPr lang="en-GB" noProof="0"/>
              <a:t>Second </a:t>
            </a:r>
            <a:r>
              <a:rPr lang="en-GB" noProof="0" err="1"/>
              <a:t>level</a:t>
            </a:r>
            <a:endParaRPr lang="en-GB" noProof="0"/>
          </a:p>
          <a:p>
            <a:pPr lvl="2"/>
            <a:r>
              <a:rPr lang="en-GB" noProof="0"/>
              <a:t>Third </a:t>
            </a:r>
            <a:r>
              <a:rPr lang="en-GB" noProof="0" err="1"/>
              <a:t>level</a:t>
            </a:r>
            <a:endParaRPr lang="en-GB" noProof="0"/>
          </a:p>
          <a:p>
            <a:pPr lvl="3"/>
            <a:r>
              <a:rPr lang="en-GB" noProof="0" err="1"/>
              <a:t>Fourth</a:t>
            </a:r>
            <a:r>
              <a:rPr lang="en-GB" noProof="0"/>
              <a:t> </a:t>
            </a:r>
            <a:r>
              <a:rPr lang="en-GB" noProof="0" err="1"/>
              <a:t>level</a:t>
            </a:r>
            <a:endParaRPr lang="en-GB" noProof="0"/>
          </a:p>
          <a:p>
            <a:pPr lvl="4"/>
            <a:r>
              <a:rPr lang="en-GB" noProof="0"/>
              <a:t>Fifth </a:t>
            </a:r>
            <a:r>
              <a:rPr lang="en-GB" noProof="0" err="1"/>
              <a:t>level</a:t>
            </a:r>
            <a:endParaRPr lang="en-GB" noProof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0F1B1F1-CA40-4EA4-AB68-69DBBD61ED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01372" y="1028246"/>
            <a:ext cx="1876500" cy="432000"/>
          </a:xfrm>
        </p:spPr>
        <p:txBody>
          <a:bodyPr/>
          <a:lstStyle>
            <a:lvl1pPr marL="0" indent="0">
              <a:buNone/>
              <a:defRPr sz="900" b="1"/>
            </a:lvl1pPr>
            <a:lvl2pPr marL="189000" indent="0">
              <a:buNone/>
              <a:defRPr/>
            </a:lvl2pPr>
          </a:lstStyle>
          <a:p>
            <a:pPr lvl="0"/>
            <a:r>
              <a:rPr lang="en-GB" noProof="0"/>
              <a:t>Klik for at tilføje underoverskrift</a:t>
            </a:r>
            <a:endParaRPr lang="en-GB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3DBEE0FF-2C0E-499E-ACAF-B6F421AF13D5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01372" y="1475354"/>
            <a:ext cx="1876500" cy="436664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noProof="0"/>
              <a:t>Klik for at tilføje tekst</a:t>
            </a:r>
            <a:endParaRPr lang="en-GB"/>
          </a:p>
          <a:p>
            <a:pPr lvl="1"/>
            <a:r>
              <a:rPr lang="en-GB" noProof="0"/>
              <a:t>Second </a:t>
            </a:r>
            <a:r>
              <a:rPr lang="en-GB" noProof="0" err="1"/>
              <a:t>level</a:t>
            </a:r>
            <a:endParaRPr lang="en-GB" noProof="0"/>
          </a:p>
          <a:p>
            <a:pPr lvl="2"/>
            <a:r>
              <a:rPr lang="en-GB" noProof="0"/>
              <a:t>Third </a:t>
            </a:r>
            <a:r>
              <a:rPr lang="en-GB" noProof="0" err="1"/>
              <a:t>level</a:t>
            </a:r>
            <a:endParaRPr lang="en-GB" noProof="0"/>
          </a:p>
          <a:p>
            <a:pPr lvl="3"/>
            <a:r>
              <a:rPr lang="en-GB" noProof="0" err="1"/>
              <a:t>Fourth</a:t>
            </a:r>
            <a:r>
              <a:rPr lang="en-GB" noProof="0"/>
              <a:t> </a:t>
            </a:r>
            <a:r>
              <a:rPr lang="en-GB" noProof="0" err="1"/>
              <a:t>level</a:t>
            </a:r>
            <a:endParaRPr lang="en-GB" noProof="0"/>
          </a:p>
          <a:p>
            <a:pPr lvl="4"/>
            <a:r>
              <a:rPr lang="en-GB" noProof="0"/>
              <a:t>Fifth </a:t>
            </a:r>
            <a:r>
              <a:rPr lang="en-GB" noProof="0" err="1"/>
              <a:t>level</a:t>
            </a:r>
            <a:endParaRPr lang="en-GB" noProof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F091117C-5AED-4416-88BA-F1C88ACD7A2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47871" y="1028247"/>
            <a:ext cx="1876500" cy="432000"/>
          </a:xfrm>
        </p:spPr>
        <p:txBody>
          <a:bodyPr/>
          <a:lstStyle>
            <a:lvl1pPr marL="0" indent="0">
              <a:buNone/>
              <a:defRPr sz="900" b="1"/>
            </a:lvl1pPr>
            <a:lvl2pPr marL="189000" indent="0">
              <a:buNone/>
              <a:defRPr/>
            </a:lvl2pPr>
          </a:lstStyle>
          <a:p>
            <a:pPr lvl="0"/>
            <a:r>
              <a:rPr lang="en-GB" noProof="0"/>
              <a:t>Klik for at tilføje underoverskrift</a:t>
            </a:r>
            <a:endParaRPr lang="en-GB"/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C66F31E1-769E-4E9A-9DCC-2C64321A89C1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747871" y="1475354"/>
            <a:ext cx="1876499" cy="4366646"/>
          </a:xfrm>
        </p:spPr>
        <p:txBody>
          <a:bodyPr/>
          <a:lstStyle>
            <a:lvl1pPr>
              <a:defRPr sz="900"/>
            </a:lvl1pPr>
            <a:lvl2pPr>
              <a:defRPr sz="900"/>
            </a:lvl2pPr>
            <a:lvl4pPr>
              <a:defRPr sz="900"/>
            </a:lvl4pPr>
            <a:lvl5pPr>
              <a:defRPr sz="900"/>
            </a:lvl5pPr>
          </a:lstStyle>
          <a:p>
            <a:pPr lvl="0"/>
            <a:r>
              <a:rPr lang="en-GB" noProof="0"/>
              <a:t>Klik for at tilføje tekst</a:t>
            </a:r>
            <a:endParaRPr lang="en-GB"/>
          </a:p>
          <a:p>
            <a:pPr lvl="1"/>
            <a:r>
              <a:rPr lang="en-GB" noProof="0"/>
              <a:t>Second </a:t>
            </a:r>
            <a:r>
              <a:rPr lang="en-GB" noProof="0" err="1"/>
              <a:t>level</a:t>
            </a:r>
            <a:endParaRPr lang="en-GB" noProof="0"/>
          </a:p>
          <a:p>
            <a:pPr lvl="2"/>
            <a:r>
              <a:rPr lang="en-GB" noProof="0"/>
              <a:t>Third </a:t>
            </a:r>
            <a:r>
              <a:rPr lang="en-GB" noProof="0" err="1"/>
              <a:t>level</a:t>
            </a:r>
            <a:endParaRPr lang="en-GB" noProof="0"/>
          </a:p>
          <a:p>
            <a:pPr lvl="3"/>
            <a:r>
              <a:rPr lang="en-GB" noProof="0" err="1"/>
              <a:t>Fourth</a:t>
            </a:r>
            <a:r>
              <a:rPr lang="en-GB" noProof="0"/>
              <a:t> </a:t>
            </a:r>
            <a:r>
              <a:rPr lang="en-GB" noProof="0" err="1"/>
              <a:t>level</a:t>
            </a:r>
            <a:endParaRPr lang="en-GB" noProof="0"/>
          </a:p>
          <a:p>
            <a:pPr lvl="4"/>
            <a:r>
              <a:rPr lang="en-GB" noProof="0"/>
              <a:t>Fifth </a:t>
            </a:r>
            <a:r>
              <a:rPr lang="en-GB" noProof="0" err="1"/>
              <a:t>level</a:t>
            </a:r>
            <a:endParaRPr lang="en-GB" noProof="0"/>
          </a:p>
        </p:txBody>
      </p:sp>
      <p:sp>
        <p:nvSpPr>
          <p:cNvPr id="28" name="Date Placeholder 14">
            <a:extLst>
              <a:ext uri="{FF2B5EF4-FFF2-40B4-BE49-F238E27FC236}">
                <a16:creationId xmlns:a16="http://schemas.microsoft.com/office/drawing/2014/main" id="{1DCD95D8-07B6-42C0-8767-A640B7CA8534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588C40-671D-463C-8463-D77B96C28D8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846E2E0-2E23-491A-B165-353CDF3F79E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5B93800-6F51-413B-BA21-0A9967FF338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675751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og ind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ladsholder til billede 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4574475" cy="6858000"/>
          </a:xfrm>
          <a:solidFill>
            <a:schemeClr val="bg1"/>
          </a:solidFill>
        </p:spPr>
        <p:txBody>
          <a:bodyPr/>
          <a:lstStyle>
            <a:lvl1pPr marL="0" indent="0" algn="ctr">
              <a:buNone/>
              <a:defRPr sz="900"/>
            </a:lvl1pPr>
          </a:lstStyle>
          <a:p>
            <a:r>
              <a:rPr lang="en-GB"/>
              <a:t>Vælg pladsholderen og indsæt billede via Templafy/Skyfish eller ikon eller logo via Templafy/Billeder</a:t>
            </a:r>
          </a:p>
        </p:txBody>
      </p:sp>
      <p:sp>
        <p:nvSpPr>
          <p:cNvPr id="8" name="Titel 1"/>
          <p:cNvSpPr>
            <a:spLocks noGrp="1"/>
          </p:cNvSpPr>
          <p:nvPr>
            <p:ph type="title" hasCustomPrompt="1"/>
          </p:nvPr>
        </p:nvSpPr>
        <p:spPr>
          <a:xfrm>
            <a:off x="5019301" y="1076109"/>
            <a:ext cx="3510000" cy="1822734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Klik for at tilføje overskrift, maksimalt 3 linjer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4256969-981A-4869-9324-B595DF89D12E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019300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Klik for at tilføje tekst</a:t>
            </a:r>
          </a:p>
          <a:p>
            <a:pPr lvl="1"/>
            <a:r>
              <a:rPr lang="en-GB"/>
              <a:t>Second </a:t>
            </a:r>
            <a:r>
              <a:rPr lang="en-GB" err="1"/>
              <a:t>level</a:t>
            </a:r>
            <a:endParaRPr lang="en-GB"/>
          </a:p>
          <a:p>
            <a:pPr lvl="2"/>
            <a:r>
              <a:rPr lang="en-GB"/>
              <a:t>Third </a:t>
            </a:r>
            <a:r>
              <a:rPr lang="en-GB" err="1"/>
              <a:t>level</a:t>
            </a:r>
            <a:endParaRPr lang="en-GB"/>
          </a:p>
          <a:p>
            <a:pPr lvl="3"/>
            <a:r>
              <a:rPr lang="en-GB" err="1"/>
              <a:t>Fourth</a:t>
            </a:r>
            <a:r>
              <a:rPr lang="en-GB"/>
              <a:t> </a:t>
            </a:r>
            <a:r>
              <a:rPr lang="en-GB" err="1"/>
              <a:t>level</a:t>
            </a:r>
            <a:endParaRPr lang="en-GB"/>
          </a:p>
          <a:p>
            <a:pPr lvl="4"/>
            <a:r>
              <a:rPr lang="en-GB"/>
              <a:t>Fifth </a:t>
            </a:r>
            <a:r>
              <a:rPr lang="en-GB" err="1"/>
              <a:t>level</a:t>
            </a:r>
            <a:endParaRPr lang="en-GB"/>
          </a:p>
        </p:txBody>
      </p:sp>
      <p:sp>
        <p:nvSpPr>
          <p:cNvPr id="14" name="text" descr="{&quot;templafy&quot;:{&quot;id&quot;:&quot;050431c5-6b60-4d97-8eb5-15a51dd536d0&quot;}}" title="UserProfile.Institut.InstituteDCU_{{DocumentLanguage}}">
            <a:extLst>
              <a:ext uri="{FF2B5EF4-FFF2-40B4-BE49-F238E27FC236}">
                <a16:creationId xmlns:a16="http://schemas.microsoft.com/office/drawing/2014/main" id="{060969B2-E177-4704-95D4-119A98BB90C5}"/>
              </a:ext>
            </a:extLst>
          </p:cNvPr>
          <p:cNvSpPr txBox="1">
            <a:spLocks/>
          </p:cNvSpPr>
          <p:nvPr userDrawn="1"/>
        </p:nvSpPr>
        <p:spPr>
          <a:xfrm>
            <a:off x="5019300" y="249585"/>
            <a:ext cx="3510000" cy="478677"/>
          </a:xfrm>
          <a:prstGeom prst="rect">
            <a:avLst/>
          </a:prstGeom>
          <a:noFill/>
        </p:spPr>
        <p:txBody>
          <a:bodyPr wrap="square" lIns="8100" tIns="0" rIns="0" bIns="6750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/>
              <a:t>Faculty of Science</a:t>
            </a:r>
          </a:p>
        </p:txBody>
      </p:sp>
      <p:sp>
        <p:nvSpPr>
          <p:cNvPr id="16" name="sdu.dk">
            <a:extLst>
              <a:ext uri="{FF2B5EF4-FFF2-40B4-BE49-F238E27FC236}">
                <a16:creationId xmlns:a16="http://schemas.microsoft.com/office/drawing/2014/main" id="{406E07B7-D9E4-488D-BA7B-56AC0D1DDD05}"/>
              </a:ext>
            </a:extLst>
          </p:cNvPr>
          <p:cNvSpPr/>
          <p:nvPr userDrawn="1"/>
        </p:nvSpPr>
        <p:spPr>
          <a:xfrm rot="5400000">
            <a:off x="8496300" y="768444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sdu.dk</a:t>
            </a:r>
            <a:endParaRPr lang="en-GB"/>
          </a:p>
        </p:txBody>
      </p:sp>
      <p:sp>
        <p:nvSpPr>
          <p:cNvPr id="17" name="#sdudk">
            <a:extLst>
              <a:ext uri="{FF2B5EF4-FFF2-40B4-BE49-F238E27FC236}">
                <a16:creationId xmlns:a16="http://schemas.microsoft.com/office/drawing/2014/main" id="{CD1A1828-0ED2-4AFE-8C5E-683996CBAF9D}"/>
              </a:ext>
            </a:extLst>
          </p:cNvPr>
          <p:cNvSpPr/>
          <p:nvPr userDrawn="1"/>
        </p:nvSpPr>
        <p:spPr>
          <a:xfrm rot="5400000">
            <a:off x="8497794" y="2074609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#sdudk</a:t>
            </a:r>
            <a:endParaRPr lang="en-GB"/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68D6574-D545-4AC1-804C-76EBF3BEC544}"/>
              </a:ext>
            </a:extLst>
          </p:cNvPr>
          <p:cNvCxnSpPr>
            <a:cxnSpLocks/>
          </p:cNvCxnSpPr>
          <p:nvPr userDrawn="1"/>
        </p:nvCxnSpPr>
        <p:spPr>
          <a:xfrm>
            <a:off x="5018728" y="715665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date" descr="{&quot;templafy&quot;:{&quot;id&quot;:&quot;b1572049-185e-4ff7-bc21-a19e94bf2474&quot;}}" title="Form.Date">
            <a:extLst>
              <a:ext uri="{FF2B5EF4-FFF2-40B4-BE49-F238E27FC236}">
                <a16:creationId xmlns:a16="http://schemas.microsoft.com/office/drawing/2014/main" id="{38150A77-BE4E-404D-B314-A1C41C791C1B}"/>
              </a:ext>
            </a:extLst>
          </p:cNvPr>
          <p:cNvSpPr/>
          <p:nvPr userDrawn="1"/>
        </p:nvSpPr>
        <p:spPr>
          <a:xfrm>
            <a:off x="6867024" y="6349385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b="0">
                <a:solidFill>
                  <a:schemeClr val="tx1"/>
                </a:solidFill>
              </a:rPr>
              <a:t>September 2019</a:t>
            </a:r>
          </a:p>
        </p:txBody>
      </p:sp>
      <p:pic>
        <p:nvPicPr>
          <p:cNvPr id="20" name="Logo black">
            <a:extLst>
              <a:ext uri="{FF2B5EF4-FFF2-40B4-BE49-F238E27FC236}">
                <a16:creationId xmlns:a16="http://schemas.microsoft.com/office/drawing/2014/main" id="{1421C492-A651-4EE4-BB8B-C6886E7B5C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19300" y="6294893"/>
            <a:ext cx="588600" cy="211840"/>
          </a:xfrm>
          <a:prstGeom prst="rect">
            <a:avLst/>
          </a:prstGeom>
        </p:spPr>
      </p:pic>
      <p:sp>
        <p:nvSpPr>
          <p:cNvPr id="30" name="Date Placeholder 14">
            <a:extLst>
              <a:ext uri="{FF2B5EF4-FFF2-40B4-BE49-F238E27FC236}">
                <a16:creationId xmlns:a16="http://schemas.microsoft.com/office/drawing/2014/main" id="{2C4B35A0-F8F7-420F-9E06-CC0AAAA0B84F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7C94981C-CC58-4018-9B19-5053EFA6B6A9}"/>
              </a:ext>
            </a:extLst>
          </p:cNvPr>
          <p:cNvSpPr txBox="1"/>
          <p:nvPr userDrawn="1"/>
        </p:nvSpPr>
        <p:spPr>
          <a:xfrm>
            <a:off x="1" y="-349741"/>
            <a:ext cx="8592887" cy="2425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88" b="1" noProof="1"/>
              <a:t>Skift baggrundsfarve. </a:t>
            </a:r>
            <a:r>
              <a:rPr lang="en-GB" sz="788" noProof="1"/>
              <a:t>Højreklik på slidet og vælg </a:t>
            </a:r>
            <a:r>
              <a:rPr lang="en-GB" sz="788" b="1" noProof="1"/>
              <a:t>Formatér baggrund</a:t>
            </a:r>
            <a:r>
              <a:rPr lang="en-GB" sz="788" noProof="1"/>
              <a:t>. Klik på </a:t>
            </a:r>
            <a:r>
              <a:rPr lang="en-GB" sz="788" b="1" noProof="1"/>
              <a:t>Fyld farve </a:t>
            </a:r>
            <a:r>
              <a:rPr lang="en-GB" sz="788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96235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3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335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8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CE3640-5B51-4A9B-AD9A-3CA7A7E193EB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568506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lede og tekst (CV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5032799" y="1700213"/>
            <a:ext cx="3507803" cy="1436392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Overskrift i </a:t>
            </a:r>
            <a:r>
              <a:rPr lang="en-GB" err="1"/>
              <a:t>maks</a:t>
            </a:r>
            <a:r>
              <a:rPr lang="en-GB"/>
              <a:t> 2 linjer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6FAAEFF0-FCE4-48D6-A0D1-A458F3CD3EB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019151" y="3387600"/>
            <a:ext cx="3510000" cy="2466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/>
              <a:t>Klik for at tilføje tekst</a:t>
            </a:r>
          </a:p>
          <a:p>
            <a:pPr lvl="1"/>
            <a:r>
              <a:rPr lang="en-GB"/>
              <a:t>Second </a:t>
            </a:r>
            <a:r>
              <a:rPr lang="en-GB" err="1"/>
              <a:t>level</a:t>
            </a:r>
            <a:endParaRPr lang="en-GB"/>
          </a:p>
          <a:p>
            <a:pPr lvl="2"/>
            <a:r>
              <a:rPr lang="en-GB"/>
              <a:t>Third </a:t>
            </a:r>
            <a:r>
              <a:rPr lang="en-GB" err="1"/>
              <a:t>level</a:t>
            </a:r>
            <a:endParaRPr lang="en-GB"/>
          </a:p>
          <a:p>
            <a:pPr lvl="3"/>
            <a:r>
              <a:rPr lang="en-GB" err="1"/>
              <a:t>Fourth</a:t>
            </a:r>
            <a:r>
              <a:rPr lang="en-GB"/>
              <a:t> </a:t>
            </a:r>
            <a:r>
              <a:rPr lang="en-GB" err="1"/>
              <a:t>level</a:t>
            </a:r>
            <a:endParaRPr lang="en-GB"/>
          </a:p>
          <a:p>
            <a:pPr lvl="4"/>
            <a:r>
              <a:rPr lang="en-GB"/>
              <a:t>Fifth </a:t>
            </a:r>
            <a:r>
              <a:rPr lang="en-GB" err="1"/>
              <a:t>level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F21E6D3-406B-4DA0-9B5A-6A2F208BAF7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32800" y="452438"/>
            <a:ext cx="3494458" cy="790493"/>
          </a:xfrm>
        </p:spPr>
        <p:txBody>
          <a:bodyPr anchor="b" anchorCtr="0"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GB"/>
              <a:t>Klik for at indsætte tekst (f.eks. job titel)</a:t>
            </a:r>
          </a:p>
        </p:txBody>
      </p:sp>
      <p:sp>
        <p:nvSpPr>
          <p:cNvPr id="10" name="Pladsholder til billede 3"/>
          <p:cNvSpPr>
            <a:spLocks noGrp="1"/>
          </p:cNvSpPr>
          <p:nvPr>
            <p:ph type="pic" sz="quarter" idx="13" hasCustomPrompt="1"/>
          </p:nvPr>
        </p:nvSpPr>
        <p:spPr>
          <a:xfrm>
            <a:off x="308373" y="1016000"/>
            <a:ext cx="3032909" cy="4804038"/>
          </a:xfrm>
          <a:noFill/>
        </p:spPr>
        <p:txBody>
          <a:bodyPr/>
          <a:lstStyle>
            <a:lvl1pPr marL="0" indent="0" algn="ctr">
              <a:buNone/>
              <a:defRPr sz="825"/>
            </a:lvl1pPr>
          </a:lstStyle>
          <a:p>
            <a:r>
              <a:rPr lang="en-GB"/>
              <a:t>Vælg pladsholderen og indsæt billede via Templafy/Skyfish eller ikon eller logo via Templafy/Billeder</a:t>
            </a:r>
          </a:p>
        </p:txBody>
      </p:sp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4AC2696B-BD55-4932-A36E-BCC4318F22B0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1591D0A-163E-46D9-B4AE-DA2791457328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31645F-3EEE-4ACC-9DE8-38B996FFAD1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DA9685AE-678B-466E-B97B-590BC795CFD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E308762-F27B-4C02-A3F6-050482784129}"/>
              </a:ext>
            </a:extLst>
          </p:cNvPr>
          <p:cNvSpPr txBox="1"/>
          <p:nvPr userDrawn="1"/>
        </p:nvSpPr>
        <p:spPr>
          <a:xfrm>
            <a:off x="1" y="-349741"/>
            <a:ext cx="8592887" cy="2425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788" b="1" noProof="1"/>
              <a:t>Skift baggrundsfarve. </a:t>
            </a:r>
            <a:r>
              <a:rPr lang="en-GB" sz="788" noProof="1"/>
              <a:t>Højreklik på slidet og vælg </a:t>
            </a:r>
            <a:r>
              <a:rPr lang="en-GB" sz="788" b="1" noProof="1"/>
              <a:t>Formatér baggrund</a:t>
            </a:r>
            <a:r>
              <a:rPr lang="en-GB" sz="788" noProof="1"/>
              <a:t>. Klik på </a:t>
            </a:r>
            <a:r>
              <a:rPr lang="en-GB" sz="788" b="1" noProof="1"/>
              <a:t>Fyld farve </a:t>
            </a:r>
            <a:r>
              <a:rPr lang="en-GB" sz="788" noProof="1"/>
              <a:t>i Formater baggrund vinduet og vælg farve fra øverste række i SDU’s farve palette eller fra den brugerdefinerede farvepalette</a:t>
            </a:r>
            <a:endParaRPr lang="en-GB"/>
          </a:p>
        </p:txBody>
      </p:sp>
      <p:pic>
        <p:nvPicPr>
          <p:cNvPr id="13" name="Logo black">
            <a:extLst>
              <a:ext uri="{FF2B5EF4-FFF2-40B4-BE49-F238E27FC236}">
                <a16:creationId xmlns:a16="http://schemas.microsoft.com/office/drawing/2014/main" id="{16CDF92D-C78F-4CBE-853B-4E3CD39D2A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10" y="6294893"/>
            <a:ext cx="588600" cy="211840"/>
          </a:xfrm>
          <a:prstGeom prst="rect">
            <a:avLst/>
          </a:prstGeom>
        </p:spPr>
      </p:pic>
      <p:sp>
        <p:nvSpPr>
          <p:cNvPr id="14" name="text" descr="{&quot;templafy&quot;:{&quot;id&quot;:&quot;45b9e065-3669-467c-82a1-bf545b986bfb&quot;}}" title="UserProfile.Institut.InstituteDCU_{{DocumentLanguage}}">
            <a:extLst>
              <a:ext uri="{FF2B5EF4-FFF2-40B4-BE49-F238E27FC236}">
                <a16:creationId xmlns:a16="http://schemas.microsoft.com/office/drawing/2014/main" id="{DF6D8BC8-E65A-425F-8A88-41B507F8A632}"/>
              </a:ext>
            </a:extLst>
          </p:cNvPr>
          <p:cNvSpPr txBox="1">
            <a:spLocks/>
          </p:cNvSpPr>
          <p:nvPr userDrawn="1"/>
        </p:nvSpPr>
        <p:spPr>
          <a:xfrm>
            <a:off x="308371" y="513617"/>
            <a:ext cx="4520510" cy="213584"/>
          </a:xfrm>
          <a:prstGeom prst="rect">
            <a:avLst/>
          </a:prstGeom>
          <a:noFill/>
        </p:spPr>
        <p:txBody>
          <a:bodyPr wrap="square" lIns="8100" tIns="0" rIns="0" bIns="6750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/>
              <a:t>Faculty of Scienc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07D7BB8A-9FF7-4F5F-964E-11BE0AD89A9E}"/>
              </a:ext>
            </a:extLst>
          </p:cNvPr>
          <p:cNvCxnSpPr>
            <a:cxnSpLocks/>
          </p:cNvCxnSpPr>
          <p:nvPr userDrawn="1"/>
        </p:nvCxnSpPr>
        <p:spPr>
          <a:xfrm>
            <a:off x="307801" y="715665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>
            <a:extLst>
              <a:ext uri="{FF2B5EF4-FFF2-40B4-BE49-F238E27FC236}">
                <a16:creationId xmlns:a16="http://schemas.microsoft.com/office/drawing/2014/main" id="{EA0D29C7-1B08-47AE-80F0-21F12DFA77CE}"/>
              </a:ext>
            </a:extLst>
          </p:cNvPr>
          <p:cNvSpPr/>
          <p:nvPr userDrawn="1"/>
        </p:nvSpPr>
        <p:spPr>
          <a:xfrm rot="5400000">
            <a:off x="8496300" y="768444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sdu.dk</a:t>
            </a:r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BE87218-65BF-484A-9BC3-CFE3F6FD4ECC}"/>
              </a:ext>
            </a:extLst>
          </p:cNvPr>
          <p:cNvSpPr/>
          <p:nvPr userDrawn="1"/>
        </p:nvSpPr>
        <p:spPr>
          <a:xfrm rot="5400000">
            <a:off x="8497794" y="2074609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#sdudk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89517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bill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11023" y="1700213"/>
            <a:ext cx="4025700" cy="414178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GB"/>
              <a:t>Klik for at tilføje overskrift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BAC5FF5C-5A1F-4EF8-85A8-E1370E4FA7C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811886" y="1000444"/>
            <a:ext cx="3713571" cy="4841557"/>
          </a:xfrm>
        </p:spPr>
        <p:txBody>
          <a:bodyPr/>
          <a:lstStyle>
            <a:lvl1pPr marL="0" indent="0" algn="ctr">
              <a:buNone/>
              <a:defRPr sz="1050"/>
            </a:lvl1pPr>
          </a:lstStyle>
          <a:p>
            <a:r>
              <a:rPr lang="en-GB"/>
              <a:t>Vælg pladsholderen og indsæt billede via Templafy/Skyfish eller ikon eller logo via Templafy/Billeder</a:t>
            </a:r>
          </a:p>
        </p:txBody>
      </p:sp>
      <p:sp>
        <p:nvSpPr>
          <p:cNvPr id="17" name="Date Placeholder 14">
            <a:extLst>
              <a:ext uri="{FF2B5EF4-FFF2-40B4-BE49-F238E27FC236}">
                <a16:creationId xmlns:a16="http://schemas.microsoft.com/office/drawing/2014/main" id="{360EC57D-D72D-43A3-90BC-3ACC9F8BC9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36B2A848-B2AD-472A-AC10-0002D162D52D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920C039-324F-433E-90A2-B9FAD2872EC2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17D6F82-73FC-4F13-BFEC-9200E77E152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927326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FA71C01-3350-42F9-9392-0F3379095A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199677" y="1700213"/>
            <a:ext cx="702000" cy="936000"/>
          </a:xfrm>
        </p:spPr>
        <p:txBody>
          <a:bodyPr wrap="none"/>
          <a:lstStyle>
            <a:lvl1pPr marL="0" indent="0">
              <a:buNone/>
              <a:defRPr sz="750"/>
            </a:lvl1pPr>
          </a:lstStyle>
          <a:p>
            <a:pPr lvl="0"/>
            <a:r>
              <a:rPr lang="en-GB"/>
              <a:t>Indsæt logo: Vælg pladsholderen, indsæt logo via Templafy/Billeder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0A09C85-3CCC-44AB-A808-AA96845B128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99677" y="2733129"/>
            <a:ext cx="2673000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575" b="1"/>
            </a:lvl1pPr>
            <a:lvl2pPr marL="189000">
              <a:defRPr/>
            </a:lvl2pPr>
            <a:lvl3pPr marL="378000">
              <a:defRPr/>
            </a:lvl3pPr>
          </a:lstStyle>
          <a:p>
            <a:pPr lvl="0"/>
            <a:r>
              <a:rPr lang="en-GB"/>
              <a:t>Klik for at tilføje overskrift</a:t>
            </a:r>
          </a:p>
          <a:p>
            <a:pPr lvl="1"/>
            <a:r>
              <a:rPr lang="en-GB"/>
              <a:t>Second level</a:t>
            </a:r>
          </a:p>
          <a:p>
            <a:pPr lvl="2"/>
            <a:endParaRPr lang="en-GB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3F35B7FD-E0E2-4581-BAC7-8858E530AFE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200500" y="4012975"/>
            <a:ext cx="702000" cy="936000"/>
          </a:xfrm>
        </p:spPr>
        <p:txBody>
          <a:bodyPr wrap="none"/>
          <a:lstStyle>
            <a:lvl1pPr marL="0" indent="0">
              <a:buNone/>
              <a:defRPr sz="750"/>
            </a:lvl1pPr>
          </a:lstStyle>
          <a:p>
            <a:pPr lvl="0"/>
            <a:r>
              <a:rPr lang="en-GB"/>
              <a:t>Indsæt logo: Vælg pladsholderen, indsæt logo via Templafy/Billeder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2C92166-E723-47D5-9A87-3354EB28C43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99084" y="5093240"/>
            <a:ext cx="2673000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500" b="1"/>
            </a:lvl1pPr>
            <a:lvl2pPr marL="189000">
              <a:defRPr/>
            </a:lvl2pPr>
            <a:lvl3pPr marL="189000" indent="0">
              <a:buNone/>
              <a:defRPr/>
            </a:lvl3pPr>
          </a:lstStyle>
          <a:p>
            <a:pPr lvl="0"/>
            <a:r>
              <a:rPr lang="en-GB"/>
              <a:t>Klik for at tilføje overskrif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AE23DA26-37CC-4CA7-8253-FD9AB459D2E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5606055" y="1700213"/>
            <a:ext cx="702000" cy="936000"/>
          </a:xfrm>
        </p:spPr>
        <p:txBody>
          <a:bodyPr wrap="none"/>
          <a:lstStyle>
            <a:lvl1pPr marL="0" indent="0">
              <a:buNone/>
              <a:defRPr sz="750"/>
            </a:lvl1pPr>
            <a:lvl2pPr marL="189000" indent="0">
              <a:buNone/>
              <a:defRPr sz="750"/>
            </a:lvl2pPr>
          </a:lstStyle>
          <a:p>
            <a:pPr lvl="0"/>
            <a:r>
              <a:rPr lang="en-GB"/>
              <a:t>Indsæt logo: Vælg pladsholderen, indsæt logo via Templafy/Billeder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2682726-03AB-4490-8664-993881FA0B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594747" y="2732400"/>
            <a:ext cx="2673000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500" b="1"/>
            </a:lvl1pPr>
            <a:lvl2pPr marL="189000">
              <a:defRPr/>
            </a:lvl2pPr>
            <a:lvl3pPr marL="378000">
              <a:defRPr/>
            </a:lvl3pPr>
          </a:lstStyle>
          <a:p>
            <a:pPr lvl="0"/>
            <a:r>
              <a:rPr lang="en-GB"/>
              <a:t>Klik for at tilføje overskrift</a:t>
            </a:r>
          </a:p>
          <a:p>
            <a:pPr lvl="1"/>
            <a:r>
              <a:rPr lang="en-GB"/>
              <a:t>Second level</a:t>
            </a:r>
          </a:p>
          <a:p>
            <a:pPr lvl="2"/>
            <a:endParaRPr lang="en-GB"/>
          </a:p>
        </p:txBody>
      </p:sp>
      <p:sp>
        <p:nvSpPr>
          <p:cNvPr id="21" name="Content Placeholder 20">
            <a:extLst>
              <a:ext uri="{FF2B5EF4-FFF2-40B4-BE49-F238E27FC236}">
                <a16:creationId xmlns:a16="http://schemas.microsoft.com/office/drawing/2014/main" id="{762625AB-198B-4F37-9382-C78FD9118D5A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5594747" y="4012975"/>
            <a:ext cx="702000" cy="936000"/>
          </a:xfrm>
        </p:spPr>
        <p:txBody>
          <a:bodyPr wrap="none"/>
          <a:lstStyle>
            <a:lvl1pPr marL="0" indent="0">
              <a:buNone/>
              <a:defRPr sz="750"/>
            </a:lvl1pPr>
          </a:lstStyle>
          <a:p>
            <a:pPr lvl="0"/>
            <a:r>
              <a:rPr lang="en-GB"/>
              <a:t>Indsæt logo: Vælg pladsholderen, indsæt logo via Templafy/Billeder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D8AE7F93-F2C6-4199-8D16-CFB4D977F63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05461" y="5093240"/>
            <a:ext cx="2673000" cy="756000"/>
          </a:xfrm>
        </p:spPr>
        <p:txBody>
          <a:bodyPr/>
          <a:lstStyle>
            <a:lvl1pPr marL="0" indent="0">
              <a:buFont typeface="Arial" panose="020B0604020202020204" pitchFamily="34" charset="0"/>
              <a:buChar char="​"/>
              <a:defRPr sz="1500" b="1"/>
            </a:lvl1pPr>
            <a:lvl2pPr marL="189000">
              <a:defRPr/>
            </a:lvl2pPr>
            <a:lvl3pPr marL="378000">
              <a:defRPr/>
            </a:lvl3pPr>
          </a:lstStyle>
          <a:p>
            <a:pPr lvl="0"/>
            <a:r>
              <a:rPr lang="en-GB"/>
              <a:t>Klik for at tilføje overskrift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C4D261F-AFF9-422D-9FB3-5AE92F19507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1133E6A-A4F4-491B-846E-1DACC83D9BB7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C38E8B2-EC82-4BE1-85C6-8F27259691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1652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og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56F8A6A9-890A-4EA2-8FA4-EA834B1A12F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11023" y="1700213"/>
            <a:ext cx="4025700" cy="414178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2700">
                <a:solidFill>
                  <a:schemeClr val="tx1"/>
                </a:solidFill>
              </a:defRPr>
            </a:lvl1pPr>
          </a:lstStyle>
          <a:p>
            <a:r>
              <a:rPr lang="en-GB"/>
              <a:t>Klik for at tilføje overskrift</a:t>
            </a:r>
          </a:p>
        </p:txBody>
      </p:sp>
      <p:sp>
        <p:nvSpPr>
          <p:cNvPr id="11" name="Date Placeholder 14">
            <a:extLst>
              <a:ext uri="{FF2B5EF4-FFF2-40B4-BE49-F238E27FC236}">
                <a16:creationId xmlns:a16="http://schemas.microsoft.com/office/drawing/2014/main" id="{705F52FC-7E26-46C0-8E8B-4445D500B9C7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01B1D99-4B52-4731-AEC4-C722464A7D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5FCEDFC-AE26-4F9F-9153-1837190678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4B452C39-88DE-4155-8ED8-643714B1A9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59978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8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1523B2-FB57-4FBA-B331-BF5553310E24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9019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0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B11598-2C42-42ED-B2D1-749B0988A7E2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48493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457200" y="1646230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57200" y="2357431"/>
            <a:ext cx="4040188" cy="376873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45025" y="1646230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45025" y="2357429"/>
            <a:ext cx="4041775" cy="376873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7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8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9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DAF690-2AD0-4A70-A8B4-BE8842F88E44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9842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42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1430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571625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C9A341-D973-4580-9EBF-F3D84465A461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76761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>
          <a:xfrm>
            <a:off x="357188" y="6572250"/>
            <a:ext cx="1285875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>
          <a:xfrm>
            <a:off x="1604963" y="6572250"/>
            <a:ext cx="2895600" cy="28575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A6094B-B5B0-4C64-9607-5D295F60CAB3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696959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2257412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000364" y="273050"/>
            <a:ext cx="5686436" cy="5853113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457201" y="1435100"/>
            <a:ext cx="2257412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AEC554-FC86-4578-B705-9918DD28A856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1462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85918" y="5000636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a-DK"/>
              <a:t>Klik for at redigere i master</a:t>
            </a:r>
            <a:endParaRPr lang="da-DK" dirty="0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357158" y="357166"/>
            <a:ext cx="8429684" cy="464347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a-DK" noProof="0"/>
              <a:t>Klik på ikonet for at tilføje et billede</a:t>
            </a:r>
            <a:endParaRPr lang="da-DK" noProof="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1785918" y="5567374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a-DK"/>
              <a:t>Klik for at redigere i master</a:t>
            </a:r>
          </a:p>
        </p:txBody>
      </p:sp>
      <p:sp>
        <p:nvSpPr>
          <p:cNvPr id="5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7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FC10689-33A7-422F-A150-E6C637BAE15A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35983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jpe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3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19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1" name="think-cell Slide" r:id="rId13" imgW="360" imgH="360" progId="TCLayout.ActiveDocument.1">
                  <p:embed/>
                </p:oleObj>
              </mc:Choice>
              <mc:Fallback>
                <p:oleObj name="think-cell Slide" r:id="rId13" imgW="360" imgH="360" progId="TCLayout.ActiveDocument.1">
                  <p:embed/>
                  <p:pic>
                    <p:nvPicPr>
                      <p:cNvPr id="0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Pladsholder til titel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iteltypografi i masteren</a:t>
            </a:r>
          </a:p>
        </p:txBody>
      </p:sp>
      <p:sp>
        <p:nvSpPr>
          <p:cNvPr id="2052" name="Pladsholder til tekst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 altLang="da-DK"/>
              <a:t>Klik for at redigere typografi i masteren</a:t>
            </a:r>
          </a:p>
          <a:p>
            <a:pPr lvl="1"/>
            <a:r>
              <a:rPr lang="da-DK" altLang="da-DK"/>
              <a:t>Andet niveau</a:t>
            </a:r>
          </a:p>
          <a:p>
            <a:pPr lvl="2"/>
            <a:r>
              <a:rPr lang="da-DK" altLang="da-DK"/>
              <a:t>Tredje niveau</a:t>
            </a:r>
          </a:p>
          <a:p>
            <a:pPr lvl="3"/>
            <a:r>
              <a:rPr lang="da-DK" altLang="da-DK"/>
              <a:t>Fjerde niveau</a:t>
            </a:r>
          </a:p>
          <a:p>
            <a:pPr lvl="4"/>
            <a:r>
              <a:rPr lang="da-DK" altLang="da-DK"/>
              <a:t>Femte niveau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357188" y="6572250"/>
            <a:ext cx="1214437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1143000" y="6572250"/>
            <a:ext cx="2895600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endParaRPr lang="da-DK"/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4"/>
          </p:nvPr>
        </p:nvSpPr>
        <p:spPr>
          <a:xfrm>
            <a:off x="0" y="6572250"/>
            <a:ext cx="428625" cy="28575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>
              <a:defRPr sz="1000">
                <a:solidFill>
                  <a:srgbClr val="898989"/>
                </a:solidFill>
                <a:latin typeface="Gill Sans MT" pitchFamily="-106" charset="-18"/>
                <a:ea typeface="ヒラギノ角ゴ ProN W3" pitchFamily="-106" charset="-128"/>
                <a:cs typeface="ヒラギノ角ゴ ProN W3" pitchFamily="-106" charset="-128"/>
                <a:sym typeface="Gill Sans" pitchFamily="-106" charset="0"/>
              </a:defRPr>
            </a:lvl1pPr>
          </a:lstStyle>
          <a:p>
            <a:pPr>
              <a:defRPr/>
            </a:pPr>
            <a:fld id="{36AF3AC2-9AC2-4D4B-827C-88124B6D69D2}" type="slidenum">
              <a:rPr lang="en-US"/>
              <a:pPr>
                <a:defRPr/>
              </a:pPr>
              <a:t>‹nr.›</a:t>
            </a:fld>
            <a:endParaRPr lang="en-US" dirty="0"/>
          </a:p>
        </p:txBody>
      </p:sp>
      <p:pic>
        <p:nvPicPr>
          <p:cNvPr id="2056" name="Billede 9" descr="C:\Users\irh\AppData\Local\Microsoft\Windows\Temporary Internet Files\Content.IE5\8GU3Z56T\SDU_fysik_K_F_UK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6038" y="6153150"/>
            <a:ext cx="1477962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5188" r:id="rId1"/>
    <p:sldLayoutId id="2147485189" r:id="rId2"/>
    <p:sldLayoutId id="2147485190" r:id="rId3"/>
    <p:sldLayoutId id="2147485191" r:id="rId4"/>
    <p:sldLayoutId id="2147485174" r:id="rId5"/>
    <p:sldLayoutId id="2147485192" r:id="rId6"/>
    <p:sldLayoutId id="2147485193" r:id="rId7"/>
    <p:sldLayoutId id="2147485175" r:id="rId8"/>
    <p:sldLayoutId id="2147485176" r:id="rId9"/>
  </p:sldLayoutIdLst>
  <p:hf sldNum="0"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600" b="1" kern="1200">
          <a:solidFill>
            <a:schemeClr val="tx1"/>
          </a:solidFill>
          <a:latin typeface="+mj-lt"/>
          <a:ea typeface="MS PGothic" pitchFamily="34" charset="-128"/>
          <a:cs typeface="ＭＳ Ｐゴシック" pitchFamily="-106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  <a:ea typeface="MS PGothic" pitchFamily="34" charset="-128"/>
          <a:cs typeface="ＭＳ Ｐゴシック" pitchFamily="-106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  <a:ea typeface="MS PGothic" pitchFamily="34" charset="-128"/>
          <a:cs typeface="ＭＳ Ｐゴシック" pitchFamily="-106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  <a:ea typeface="MS PGothic" pitchFamily="34" charset="-128"/>
          <a:cs typeface="ＭＳ Ｐゴシック" pitchFamily="-106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Arial" pitchFamily="34" charset="0"/>
          <a:ea typeface="MS PGothic" pitchFamily="34" charset="-128"/>
          <a:cs typeface="ＭＳ Ｐゴシック" pitchFamily="-106" charset="-128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1"/>
          </a:solidFill>
          <a:latin typeface="Gill Sans MT" pitchFamily="-106" charset="-18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MS PGothic" pitchFamily="34" charset="-128"/>
          <a:cs typeface="ＭＳ Ｐゴシック" pitchFamily="-106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MS PGothic" pitchFamily="34" charset="-128"/>
          <a:cs typeface="ＭＳ Ｐゴシック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7801" y="1028247"/>
            <a:ext cx="8534510" cy="160267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/>
              <a:t>Klik for at redigere i maste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7800" y="3369040"/>
            <a:ext cx="8528929" cy="247296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Første niveau, bullet 16 </a:t>
            </a:r>
            <a:r>
              <a:rPr lang="en-GB" err="1"/>
              <a:t>pkt</a:t>
            </a:r>
            <a:endParaRPr lang="en-GB"/>
          </a:p>
          <a:p>
            <a:pPr lvl="1"/>
            <a:r>
              <a:rPr lang="en-GB"/>
              <a:t>Andet niveau, bullet 14 </a:t>
            </a:r>
            <a:r>
              <a:rPr lang="en-GB" err="1"/>
              <a:t>pkt</a:t>
            </a:r>
            <a:endParaRPr lang="en-GB"/>
          </a:p>
          <a:p>
            <a:pPr lvl="2"/>
            <a:r>
              <a:rPr lang="en-GB"/>
              <a:t>Tredje niveau, bullet 12 </a:t>
            </a:r>
            <a:r>
              <a:rPr lang="en-GB" err="1"/>
              <a:t>pkt</a:t>
            </a:r>
            <a:endParaRPr lang="en-GB"/>
          </a:p>
          <a:p>
            <a:pPr lvl="3"/>
            <a:r>
              <a:rPr lang="en-GB"/>
              <a:t>Fjerde niveau, Header bold 16 </a:t>
            </a:r>
            <a:r>
              <a:rPr lang="en-GB" err="1"/>
              <a:t>pkt</a:t>
            </a:r>
            <a:endParaRPr lang="en-GB"/>
          </a:p>
          <a:p>
            <a:pPr lvl="4"/>
            <a:r>
              <a:rPr lang="en-GB"/>
              <a:t>Femte niveau, Body </a:t>
            </a:r>
            <a:r>
              <a:rPr lang="en-GB" err="1"/>
              <a:t>regular</a:t>
            </a:r>
            <a:r>
              <a:rPr lang="en-GB"/>
              <a:t> 16 </a:t>
            </a:r>
            <a:r>
              <a:rPr lang="en-GB" err="1"/>
              <a:t>pkt</a:t>
            </a:r>
            <a:endParaRPr lang="en-GB"/>
          </a:p>
          <a:p>
            <a:pPr lvl="5"/>
            <a:r>
              <a:rPr lang="en-GB"/>
              <a:t>Sjette niveau, bullet 12 </a:t>
            </a:r>
            <a:r>
              <a:rPr lang="en-GB" err="1"/>
              <a:t>pkt</a:t>
            </a:r>
            <a:endParaRPr lang="en-GB"/>
          </a:p>
          <a:p>
            <a:pPr lvl="6"/>
            <a:r>
              <a:rPr lang="en-GB"/>
              <a:t>Syvende niveau, bullet 12 </a:t>
            </a:r>
            <a:r>
              <a:rPr lang="en-GB" err="1"/>
              <a:t>pkt</a:t>
            </a:r>
            <a:r>
              <a:rPr lang="en-GB"/>
              <a:t> (indryk 1 gang)</a:t>
            </a:r>
          </a:p>
          <a:p>
            <a:pPr lvl="7"/>
            <a:r>
              <a:rPr lang="en-GB"/>
              <a:t>Ottende niveau, Header bold, 12 </a:t>
            </a:r>
            <a:r>
              <a:rPr lang="en-GB" err="1"/>
              <a:t>pkt</a:t>
            </a:r>
            <a:endParaRPr lang="en-GB"/>
          </a:p>
          <a:p>
            <a:pPr lvl="8"/>
            <a:r>
              <a:rPr lang="en-GB"/>
              <a:t>Niende niveau, Body </a:t>
            </a:r>
            <a:r>
              <a:rPr lang="en-GB" err="1"/>
              <a:t>regular</a:t>
            </a:r>
            <a:r>
              <a:rPr lang="en-GB"/>
              <a:t>, 12 </a:t>
            </a:r>
            <a:r>
              <a:rPr lang="en-GB" err="1"/>
              <a:t>pkt</a:t>
            </a:r>
            <a:endParaRPr lang="en-GB"/>
          </a:p>
        </p:txBody>
      </p:sp>
      <p:sp>
        <p:nvSpPr>
          <p:cNvPr id="5" name="OFF_institute"/>
          <p:cNvSpPr>
            <a:spLocks noGrp="1"/>
          </p:cNvSpPr>
          <p:nvPr>
            <p:ph type="ftr" sz="quarter" idx="3"/>
          </p:nvPr>
        </p:nvSpPr>
        <p:spPr>
          <a:xfrm>
            <a:off x="5186700" y="6376129"/>
            <a:ext cx="1680324" cy="18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750" b="0" cap="none" baseline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9C3F3D4-B958-489D-8401-2859D15536DE}"/>
              </a:ext>
            </a:extLst>
          </p:cNvPr>
          <p:cNvSpPr/>
          <p:nvPr userDrawn="1"/>
        </p:nvSpPr>
        <p:spPr>
          <a:xfrm rot="5400000">
            <a:off x="8496300" y="768444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sdu.dk</a:t>
            </a:r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DAD2A31-35D3-4D5D-AA2D-C72C49CA7FB0}"/>
              </a:ext>
            </a:extLst>
          </p:cNvPr>
          <p:cNvSpPr/>
          <p:nvPr userDrawn="1"/>
        </p:nvSpPr>
        <p:spPr>
          <a:xfrm rot="5400000">
            <a:off x="8497794" y="2074609"/>
            <a:ext cx="914400" cy="2823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b" anchorCtr="0"/>
          <a:lstStyle/>
          <a:p>
            <a:pPr algn="l"/>
            <a:r>
              <a:rPr lang="en-GB" sz="825" b="1" noProof="1">
                <a:solidFill>
                  <a:schemeClr val="tx1"/>
                </a:solidFill>
              </a:rPr>
              <a:t>#sdudk</a:t>
            </a:r>
            <a:endParaRPr lang="en-GB"/>
          </a:p>
        </p:txBody>
      </p:sp>
      <p:sp>
        <p:nvSpPr>
          <p:cNvPr id="15" name="Date Placeholder 14">
            <a:extLst>
              <a:ext uri="{FF2B5EF4-FFF2-40B4-BE49-F238E27FC236}">
                <a16:creationId xmlns:a16="http://schemas.microsoft.com/office/drawing/2014/main" id="{A56ADEC3-98E1-4CEA-9AF5-46F4CDD2FA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">
                <a:noFill/>
              </a:defRPr>
            </a:lvl1pPr>
          </a:lstStyle>
          <a:p>
            <a:fld id="{F1A13B18-F5ED-4611-8DBB-F05123AFBA22}" type="datetimeFigureOut">
              <a:rPr lang="en-GB" smtClean="0"/>
              <a:pPr/>
              <a:t>12/09/2019</a:t>
            </a:fld>
            <a:endParaRPr lang="en-GB"/>
          </a:p>
        </p:txBody>
      </p:sp>
      <p:pic>
        <p:nvPicPr>
          <p:cNvPr id="25" name="Logo black">
            <a:extLst>
              <a:ext uri="{FF2B5EF4-FFF2-40B4-BE49-F238E27FC236}">
                <a16:creationId xmlns:a16="http://schemas.microsoft.com/office/drawing/2014/main" id="{860AC4C2-E6D6-4DCE-950A-C298C0AE9B87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510" y="6294893"/>
            <a:ext cx="588600" cy="211840"/>
          </a:xfrm>
          <a:prstGeom prst="rect">
            <a:avLst/>
          </a:prstGeom>
        </p:spPr>
      </p:pic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C6C4C210-3CAD-4E96-8F10-9CD4863FC9B7}"/>
              </a:ext>
            </a:extLst>
          </p:cNvPr>
          <p:cNvCxnSpPr>
            <a:cxnSpLocks/>
          </p:cNvCxnSpPr>
          <p:nvPr userDrawn="1"/>
        </p:nvCxnSpPr>
        <p:spPr>
          <a:xfrm>
            <a:off x="307801" y="715665"/>
            <a:ext cx="524408" cy="0"/>
          </a:xfrm>
          <a:prstGeom prst="line">
            <a:avLst/>
          </a:prstGeom>
          <a:ln w="381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date" descr="{&quot;templafy&quot;:{&quot;id&quot;:&quot;1d909e0b-e9c7-4089-90e2-a5c8f677f066&quot;}}" title="Form.Date">
            <a:extLst>
              <a:ext uri="{FF2B5EF4-FFF2-40B4-BE49-F238E27FC236}">
                <a16:creationId xmlns:a16="http://schemas.microsoft.com/office/drawing/2014/main" id="{8A346F21-C2D9-45A4-B26D-7DDC2CEB9FB7}"/>
              </a:ext>
            </a:extLst>
          </p:cNvPr>
          <p:cNvSpPr/>
          <p:nvPr userDrawn="1"/>
        </p:nvSpPr>
        <p:spPr>
          <a:xfrm>
            <a:off x="6867024" y="6349385"/>
            <a:ext cx="1968605" cy="1800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 anchorCtr="0"/>
          <a:lstStyle/>
          <a:p>
            <a:pPr algn="r"/>
            <a:r>
              <a:rPr lang="en-GB" sz="900" b="0">
                <a:solidFill>
                  <a:schemeClr val="tx1"/>
                </a:solidFill>
              </a:rPr>
              <a:t>September 2019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ctr">
              <a:defRPr sz="100">
                <a:noFill/>
              </a:defRPr>
            </a:lvl1pPr>
          </a:lstStyle>
          <a:p>
            <a:fld id="{45D37B1E-C366-494F-A587-962AD9AABC83}" type="slidenum">
              <a:rPr lang="en-GB" smtClean="0"/>
              <a:pPr/>
              <a:t>‹nr.›</a:t>
            </a:fld>
            <a:endParaRPr lang="en-GB"/>
          </a:p>
        </p:txBody>
      </p:sp>
      <p:sp>
        <p:nvSpPr>
          <p:cNvPr id="18" name="Date Placeholder 14">
            <a:extLst>
              <a:ext uri="{FF2B5EF4-FFF2-40B4-BE49-F238E27FC236}">
                <a16:creationId xmlns:a16="http://schemas.microsoft.com/office/drawing/2014/main" id="{7DF98717-AAEA-4E2B-96B8-AAAFF896C0EA}"/>
              </a:ext>
            </a:extLst>
          </p:cNvPr>
          <p:cNvSpPr txBox="1">
            <a:spLocks/>
          </p:cNvSpPr>
          <p:nvPr userDrawn="1"/>
        </p:nvSpPr>
        <p:spPr>
          <a:xfrm>
            <a:off x="0" y="6912000"/>
            <a:ext cx="0" cy="0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l" defTabSz="914400" rtl="0" eaLnBrk="1" latinLnBrk="0" hangingPunct="1">
              <a:defRPr sz="100" kern="1200">
                <a:noFill/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1A13B18-F5ED-4611-8DBB-F05123AFBA22}" type="datetimeFigureOut">
              <a:rPr lang="en-GB" sz="100" smtClean="0"/>
              <a:pPr/>
              <a:t>12/09/2019</a:t>
            </a:fld>
            <a:endParaRPr lang="en-GB" sz="100"/>
          </a:p>
        </p:txBody>
      </p:sp>
      <p:sp>
        <p:nvSpPr>
          <p:cNvPr id="13" name="text" descr="{&quot;templafy&quot;:{&quot;id&quot;:&quot;0109c034-0c9a-4cf9-9833-85acf8fcc12c&quot;}}" title="UserProfile.Institut.InstituteDCU_{{DocumentLanguage}}">
            <a:extLst>
              <a:ext uri="{FF2B5EF4-FFF2-40B4-BE49-F238E27FC236}">
                <a16:creationId xmlns:a16="http://schemas.microsoft.com/office/drawing/2014/main" id="{125E96D5-3BB9-422E-861E-C7C7A150AD68}"/>
              </a:ext>
            </a:extLst>
          </p:cNvPr>
          <p:cNvSpPr txBox="1">
            <a:spLocks/>
          </p:cNvSpPr>
          <p:nvPr userDrawn="1"/>
        </p:nvSpPr>
        <p:spPr>
          <a:xfrm>
            <a:off x="308373" y="522088"/>
            <a:ext cx="4263628" cy="213584"/>
          </a:xfrm>
          <a:prstGeom prst="rect">
            <a:avLst/>
          </a:prstGeom>
          <a:noFill/>
        </p:spPr>
        <p:txBody>
          <a:bodyPr wrap="square" lIns="8100" tIns="0" rIns="0" bIns="67500" anchor="b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050"/>
              <a:t>Faculty of Science</a:t>
            </a:r>
          </a:p>
        </p:txBody>
      </p:sp>
    </p:spTree>
    <p:extLst>
      <p:ext uri="{BB962C8B-B14F-4D97-AF65-F5344CB8AC3E}">
        <p14:creationId xmlns:p14="http://schemas.microsoft.com/office/powerpoint/2010/main" val="3819286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97" r:id="rId1"/>
    <p:sldLayoutId id="2147485198" r:id="rId2"/>
    <p:sldLayoutId id="2147485199" r:id="rId3"/>
    <p:sldLayoutId id="2147485200" r:id="rId4"/>
    <p:sldLayoutId id="2147485201" r:id="rId5"/>
    <p:sldLayoutId id="2147485202" r:id="rId6"/>
    <p:sldLayoutId id="2147485203" r:id="rId7"/>
    <p:sldLayoutId id="2147485204" r:id="rId8"/>
    <p:sldLayoutId id="2147485205" r:id="rId9"/>
    <p:sldLayoutId id="2147485206" r:id="rId10"/>
    <p:sldLayoutId id="2147485207" r:id="rId11"/>
    <p:sldLayoutId id="2147485208" r:id="rId12"/>
    <p:sldLayoutId id="2147485209" r:id="rId13"/>
    <p:sldLayoutId id="2147485210" r:id="rId14"/>
  </p:sldLayoutIdLst>
  <p:hf hdr="0"/>
  <p:txStyles>
    <p:titleStyle>
      <a:lvl1pPr algn="l" defTabSz="685800" rtl="0" eaLnBrk="1" latinLnBrk="0" hangingPunct="1">
        <a:lnSpc>
          <a:spcPct val="97000"/>
        </a:lnSpc>
        <a:spcBef>
          <a:spcPct val="0"/>
        </a:spcBef>
        <a:buNone/>
        <a:tabLst>
          <a:tab pos="1078706" algn="l"/>
        </a:tabLst>
        <a:defRPr sz="27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9000" indent="-189000" algn="l" defTabSz="6858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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78000" indent="-189000" algn="l" defTabSz="6858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567000" indent="-189000" algn="l" defTabSz="6858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sz="12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​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89000" indent="-189000" algn="l" defTabSz="6858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9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378000" indent="-189000" algn="l" defTabSz="685800" rtl="0" eaLnBrk="1" latinLnBrk="0" hangingPunct="1">
        <a:lnSpc>
          <a:spcPct val="110000"/>
        </a:lnSpc>
        <a:spcBef>
          <a:spcPts val="0"/>
        </a:spcBef>
        <a:buFont typeface="Wingdings" panose="05000000000000000000" pitchFamily="2" charset="2"/>
        <a:buChar char="à"/>
        <a:defRPr sz="900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sz="900" b="1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685800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​"/>
        <a:defRPr sz="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3" orient="horz" pos="285">
          <p15:clr>
            <a:srgbClr val="F26B43"/>
          </p15:clr>
        </p15:guide>
        <p15:guide id="4" orient="horz" pos="1071">
          <p15:clr>
            <a:srgbClr val="F26B43"/>
          </p15:clr>
        </p15:guide>
        <p15:guide id="5" pos="259">
          <p15:clr>
            <a:srgbClr val="F26B43"/>
          </p15:clr>
        </p15:guide>
        <p15:guide id="6" pos="7421">
          <p15:clr>
            <a:srgbClr val="F26B43"/>
          </p15:clr>
        </p15:guide>
        <p15:guide id="7" orient="horz" pos="1253">
          <p15:clr>
            <a:srgbClr val="F26B43"/>
          </p15:clr>
        </p15:guide>
        <p15:guide id="8" orient="horz" pos="3680">
          <p15:clr>
            <a:srgbClr val="F26B43"/>
          </p15:clr>
        </p15:guide>
        <p15:guide id="9" orient="horz" pos="3916">
          <p15:clr>
            <a:srgbClr val="F26B43"/>
          </p15:clr>
        </p15:guide>
        <p15:guide id="10" orient="horz" pos="4094">
          <p15:clr>
            <a:srgbClr val="F26B43"/>
          </p15:clr>
        </p15:guide>
        <p15:guide id="11" pos="54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D4552-A997-AC47-973B-16AA99BA6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ctr"/>
            <a:r>
              <a:rPr lang="da-DK" sz="3200" b="0" dirty="0"/>
              <a:t>FKF Institutrådsmøde 12/9-2019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8EDE6A9D-1883-5E4D-80DC-7C99C9E684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3178"/>
            <a:ext cx="9144000" cy="4831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331564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D4552-A997-AC47-973B-16AA99BA6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ctr"/>
            <a:r>
              <a:rPr lang="da-DK" sz="3200" b="0" dirty="0"/>
              <a:t>FKF Institutrådsmøde 12/9-2019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8EDE6A9D-1883-5E4D-80DC-7C99C9E684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3178"/>
            <a:ext cx="9144000" cy="4831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16761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el 31">
            <a:extLst>
              <a:ext uri="{FF2B5EF4-FFF2-40B4-BE49-F238E27FC236}">
                <a16:creationId xmlns:a16="http://schemas.microsoft.com/office/drawing/2014/main" id="{A51DA613-011A-5841-A3FA-68B2D005A1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62039" y="2177530"/>
            <a:ext cx="4612703" cy="3052806"/>
          </a:xfrm>
        </p:spPr>
        <p:txBody>
          <a:bodyPr/>
          <a:lstStyle/>
          <a:p>
            <a:r>
              <a:rPr lang="da-DK" sz="4050"/>
              <a:t>Organisations-forandring NAT</a:t>
            </a:r>
            <a:endParaRPr lang="en-GB" sz="405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8CF08C6-7869-42F2-829E-6683126F4D2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83C7CD7C-F7E2-4FF3-B441-BD5C13FCA230}" type="datetime1">
              <a:rPr lang="en-GB"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2/09/2019</a:t>
            </a:fld>
            <a:endParaRPr lang="en-GB">
              <a:latin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6FFBF3-E295-48B6-BE1F-1C7F08F95F69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10714" y="857250"/>
            <a:ext cx="3433286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83374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161E38A9-6764-42C6-90B6-EBBAA24A2E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78001" y="2498058"/>
            <a:ext cx="3970087" cy="1861886"/>
          </a:xfrm>
        </p:spPr>
        <p:txBody>
          <a:bodyPr vert="horz" lIns="68580" tIns="34290" rIns="68580" bIns="34290" rtlCol="0" anchor="ctr" anchorCtr="0">
            <a:normAutofit/>
          </a:bodyPr>
          <a:lstStyle/>
          <a:p>
            <a:r>
              <a:rPr lang="en-US" sz="2850"/>
              <a:t>Samskabelse – et værktøj til at skabe en sammenhængende organisation</a:t>
            </a:r>
          </a:p>
        </p:txBody>
      </p:sp>
      <p:pic>
        <p:nvPicPr>
          <p:cNvPr id="10" name="Graphic 9" descr="Org">
            <a:extLst>
              <a:ext uri="{FF2B5EF4-FFF2-40B4-BE49-F238E27FC236}">
                <a16:creationId xmlns:a16="http://schemas.microsoft.com/office/drawing/2014/main" id="{061F6EF5-0734-425E-A91F-6E81E0586BB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8651" y="2914651"/>
            <a:ext cx="1028700" cy="102870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3E77171F-41FE-414A-8CAF-FB4E03959E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PicPr>
        <p:blipFill>
          <a:blip r:embed="rId2">
            <a:alphaModFix amt="1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981074" y="1469503"/>
            <a:ext cx="3918995" cy="3918995"/>
          </a:xfrm>
          <a:prstGeom prst="rect">
            <a:avLst/>
          </a:prstGeom>
        </p:spPr>
      </p:pic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9102C8F-CD8A-4DCD-BBA2-64B61CCA506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450"/>
              </a:spcAft>
            </a:pPr>
            <a:fld id="{7DBFBB8D-7CC3-4303-A3C3-98193CFEFF06}" type="datetime1">
              <a:rPr lang="en-GB">
                <a:latin typeface="Arial"/>
              </a:rPr>
              <a:pPr defTabSz="685800" fontAlgn="auto">
                <a:spcBef>
                  <a:spcPts val="0"/>
                </a:spcBef>
                <a:spcAft>
                  <a:spcPts val="450"/>
                </a:spcAft>
              </a:pPr>
              <a:t>12/09/2019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4799568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D70B121-56F4-4848-B38B-182089D909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ltGray">
          <a:xfrm>
            <a:off x="241173" y="1097280"/>
            <a:ext cx="8661654" cy="4663440"/>
          </a:xfrm>
          <a:prstGeom prst="rect">
            <a:avLst/>
          </a:prstGeom>
          <a:solidFill>
            <a:schemeClr val="tx1">
              <a:alpha val="8000"/>
            </a:schemeClr>
          </a:solidFill>
          <a:ln w="127000" cap="sq" cmpd="thinThick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 fontAlgn="auto">
              <a:spcBef>
                <a:spcPts val="0"/>
              </a:spcBef>
              <a:spcAft>
                <a:spcPts val="0"/>
              </a:spcAft>
            </a:pPr>
            <a:endParaRPr lang="en-US" sz="1350">
              <a:solidFill>
                <a:srgbClr val="FFFFFF"/>
              </a:solidFill>
              <a:latin typeface="Arial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780B4CB-683C-4FB6-A5BB-F78D61F55F4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8650" y="1580158"/>
            <a:ext cx="2620772" cy="3697685"/>
          </a:xfrm>
        </p:spPr>
        <p:txBody>
          <a:bodyPr vert="horz" lIns="68580" tIns="34290" rIns="68580" bIns="34290" rtlCol="0" anchor="ctr" anchorCtr="0">
            <a:normAutofit/>
          </a:bodyPr>
          <a:lstStyle/>
          <a:p>
            <a:pPr algn="r">
              <a:lnSpc>
                <a:spcPct val="90000"/>
              </a:lnSpc>
            </a:pPr>
            <a:r>
              <a:rPr lang="en-US" sz="2775">
                <a:solidFill>
                  <a:schemeClr val="accent1"/>
                </a:solidFill>
              </a:rPr>
              <a:t>Hvordan får vi mere samskabelse?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D72A2C9-F3CA-4216-8BAD-FA4C970C3C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ChangeAspect="1" noMove="1" noResize="1" noEditPoints="1" noAdjustHandles="1" noChangeArrowheads="1" noChangeShapeType="1"/>
          </p:cNvCxn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CxnSpPr>
        <p:spPr>
          <a:xfrm>
            <a:off x="3490722" y="2400300"/>
            <a:ext cx="0" cy="2057400"/>
          </a:xfrm>
          <a:prstGeom prst="line">
            <a:avLst/>
          </a:prstGeom>
          <a:ln w="19050">
            <a:solidFill>
              <a:schemeClr val="tx1">
                <a:lumMod val="85000"/>
                <a:lumOff val="1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6A3B6AE-90E9-4856-B9EE-E43B08338A8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732024" y="1580158"/>
            <a:ext cx="4783327" cy="3697685"/>
          </a:xfrm>
        </p:spPr>
        <p:txBody>
          <a:bodyPr vert="horz" lIns="68580" tIns="34290" rIns="68580" bIns="34290" rtlCol="0" anchor="ctr">
            <a:normAutofit lnSpcReduction="10000"/>
          </a:bodyPr>
          <a:lstStyle/>
          <a:p>
            <a:pPr marL="188595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err="1"/>
              <a:t>Erfaringer</a:t>
            </a:r>
            <a:r>
              <a:rPr lang="en-US" sz="1275"/>
              <a:t> </a:t>
            </a:r>
            <a:r>
              <a:rPr lang="en-US" sz="1275" err="1"/>
              <a:t>fra</a:t>
            </a:r>
            <a:r>
              <a:rPr lang="en-US" sz="1275"/>
              <a:t> </a:t>
            </a:r>
            <a:r>
              <a:rPr lang="en-US" sz="1275" err="1"/>
              <a:t>økonomi-organisering</a:t>
            </a:r>
            <a:r>
              <a:rPr lang="en-US" sz="1275"/>
              <a:t>:</a:t>
            </a:r>
            <a:endParaRPr lang="en-US"/>
          </a:p>
          <a:p>
            <a:pPr marL="377666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err="1"/>
              <a:t>Stærk</a:t>
            </a:r>
            <a:r>
              <a:rPr lang="en-US" sz="1275"/>
              <a:t> </a:t>
            </a:r>
            <a:r>
              <a:rPr lang="en-US" sz="1275" err="1"/>
              <a:t>faglig</a:t>
            </a:r>
            <a:r>
              <a:rPr lang="en-US" sz="1275"/>
              <a:t> </a:t>
            </a:r>
            <a:r>
              <a:rPr lang="en-US" sz="1275" err="1"/>
              <a:t>kompetence</a:t>
            </a:r>
            <a:endParaRPr lang="en-US" sz="1275" err="1">
              <a:cs typeface="Arial"/>
            </a:endParaRPr>
          </a:p>
          <a:p>
            <a:pPr marL="377666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err="1"/>
              <a:t>Fælles</a:t>
            </a:r>
            <a:r>
              <a:rPr lang="en-US" sz="1275"/>
              <a:t> </a:t>
            </a:r>
            <a:r>
              <a:rPr lang="en-US" sz="1275" err="1"/>
              <a:t>møder</a:t>
            </a:r>
            <a:r>
              <a:rPr lang="en-US" sz="1275"/>
              <a:t> </a:t>
            </a:r>
            <a:r>
              <a:rPr lang="en-US" sz="1275" err="1"/>
              <a:t>mellem</a:t>
            </a:r>
            <a:r>
              <a:rPr lang="en-US" sz="1275"/>
              <a:t> FAK </a:t>
            </a:r>
            <a:r>
              <a:rPr lang="en-US" sz="1275" err="1"/>
              <a:t>og</a:t>
            </a:r>
            <a:r>
              <a:rPr lang="en-US" sz="1275"/>
              <a:t> INST</a:t>
            </a:r>
            <a:endParaRPr lang="en-US" sz="1275">
              <a:cs typeface="Arial"/>
            </a:endParaRPr>
          </a:p>
          <a:p>
            <a:pPr marL="377666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err="1"/>
              <a:t>Fælles</a:t>
            </a:r>
            <a:r>
              <a:rPr lang="en-US" sz="1275"/>
              <a:t> </a:t>
            </a:r>
            <a:r>
              <a:rPr lang="en-US" sz="1275" err="1"/>
              <a:t>opgaver</a:t>
            </a:r>
            <a:r>
              <a:rPr lang="en-US" sz="1275"/>
              <a:t> (</a:t>
            </a:r>
            <a:r>
              <a:rPr lang="en-US" sz="1275" err="1"/>
              <a:t>f.eks</a:t>
            </a:r>
            <a:r>
              <a:rPr lang="en-US" sz="1275"/>
              <a:t>. </a:t>
            </a:r>
            <a:r>
              <a:rPr lang="en-US" sz="1275" err="1"/>
              <a:t>Udformning</a:t>
            </a:r>
            <a:r>
              <a:rPr lang="en-US" sz="1275"/>
              <a:t> </a:t>
            </a:r>
            <a:r>
              <a:rPr lang="en-US" sz="1275" err="1"/>
              <a:t>af</a:t>
            </a:r>
            <a:r>
              <a:rPr lang="en-US" sz="1275"/>
              <a:t> </a:t>
            </a:r>
            <a:r>
              <a:rPr lang="en-US" sz="1275" err="1"/>
              <a:t>fælles</a:t>
            </a:r>
            <a:r>
              <a:rPr lang="en-US" sz="1275"/>
              <a:t> </a:t>
            </a:r>
            <a:r>
              <a:rPr lang="en-US" sz="1275" err="1"/>
              <a:t>vejledninger</a:t>
            </a:r>
            <a:r>
              <a:rPr lang="en-US" sz="1275"/>
              <a:t>)</a:t>
            </a:r>
            <a:endParaRPr lang="en-US" sz="1275">
              <a:cs typeface="Arial"/>
            </a:endParaRPr>
          </a:p>
          <a:p>
            <a:pPr marL="188595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endParaRPr lang="en-US" sz="1275">
              <a:cs typeface="Arial"/>
            </a:endParaRPr>
          </a:p>
          <a:p>
            <a:pPr marL="188595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/>
              <a:t>NAT FAK SEK:</a:t>
            </a:r>
            <a:endParaRPr lang="en-US" sz="1275">
              <a:cs typeface="Arial"/>
            </a:endParaRPr>
          </a:p>
          <a:p>
            <a:pPr marL="377666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err="1">
                <a:cs typeface="Arial"/>
              </a:rPr>
              <a:t>Dekanat</a:t>
            </a:r>
            <a:endParaRPr lang="en-US" sz="1275">
              <a:cs typeface="Arial"/>
            </a:endParaRPr>
          </a:p>
          <a:p>
            <a:pPr marL="377666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b="1" err="1"/>
              <a:t>Økonomi</a:t>
            </a:r>
            <a:endParaRPr lang="en-US" sz="1275" b="1" err="1">
              <a:cs typeface="Arial"/>
            </a:endParaRPr>
          </a:p>
          <a:p>
            <a:pPr marL="377666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b="1" err="1"/>
              <a:t>Forskerstøtte</a:t>
            </a:r>
            <a:endParaRPr lang="en-US" sz="1275" b="1" err="1">
              <a:cs typeface="Arial"/>
            </a:endParaRPr>
          </a:p>
          <a:p>
            <a:pPr marL="377666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b="1"/>
              <a:t>Kommunikation</a:t>
            </a:r>
            <a:endParaRPr lang="en-US" sz="1275" b="1">
              <a:cs typeface="Arial"/>
            </a:endParaRPr>
          </a:p>
          <a:p>
            <a:pPr marL="377666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b="1" err="1"/>
              <a:t>Studieadministration</a:t>
            </a:r>
            <a:endParaRPr lang="en-US" sz="1275" b="1">
              <a:cs typeface="Arial"/>
            </a:endParaRPr>
          </a:p>
          <a:p>
            <a:pPr marL="377666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b="1" err="1"/>
              <a:t>Samarbejde</a:t>
            </a:r>
            <a:r>
              <a:rPr lang="en-US" sz="1275" b="1"/>
              <a:t> </a:t>
            </a:r>
            <a:r>
              <a:rPr lang="en-US" sz="1275" b="1" err="1"/>
              <a:t>Teknisk</a:t>
            </a:r>
            <a:r>
              <a:rPr lang="en-US" sz="1275" b="1"/>
              <a:t> Service </a:t>
            </a:r>
            <a:r>
              <a:rPr lang="en-US" sz="1275" b="1" err="1"/>
              <a:t>og</a:t>
            </a:r>
            <a:r>
              <a:rPr lang="en-US" sz="1275" b="1"/>
              <a:t> Plan </a:t>
            </a:r>
            <a:r>
              <a:rPr lang="en-US" sz="1275" b="1" err="1"/>
              <a:t>og</a:t>
            </a:r>
            <a:r>
              <a:rPr lang="en-US" sz="1275" b="1"/>
              <a:t> </a:t>
            </a:r>
            <a:r>
              <a:rPr lang="en-US" sz="1275" b="1" err="1"/>
              <a:t>Byg</a:t>
            </a:r>
            <a:endParaRPr lang="en-US" sz="1275" b="1" err="1">
              <a:cs typeface="Arial"/>
            </a:endParaRPr>
          </a:p>
          <a:p>
            <a:pPr marL="188595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endParaRPr lang="en-US" sz="1275">
              <a:cs typeface="Arial"/>
            </a:endParaRPr>
          </a:p>
          <a:p>
            <a:pPr marL="188595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/>
              <a:t>INST:</a:t>
            </a:r>
            <a:endParaRPr lang="en-US" sz="1275">
              <a:cs typeface="Arial"/>
            </a:endParaRPr>
          </a:p>
          <a:p>
            <a:pPr marL="377666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err="1"/>
              <a:t>Prioritere</a:t>
            </a:r>
            <a:r>
              <a:rPr lang="en-US" sz="1275"/>
              <a:t> </a:t>
            </a:r>
            <a:r>
              <a:rPr lang="en-US" sz="1275" err="1"/>
              <a:t>tid</a:t>
            </a:r>
            <a:r>
              <a:rPr lang="en-US" sz="1275"/>
              <a:t> </a:t>
            </a:r>
            <a:r>
              <a:rPr lang="en-US" sz="1275" err="1"/>
              <a:t>til</a:t>
            </a:r>
            <a:r>
              <a:rPr lang="en-US" sz="1275"/>
              <a:t> </a:t>
            </a:r>
            <a:r>
              <a:rPr lang="en-US" sz="1275" err="1"/>
              <a:t>fællesopgaver</a:t>
            </a:r>
            <a:endParaRPr lang="en-US" sz="1275">
              <a:cs typeface="Arial"/>
            </a:endParaRPr>
          </a:p>
          <a:p>
            <a:pPr marL="377666" lvl="1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r>
              <a:rPr lang="en-US" sz="1275" err="1"/>
              <a:t>Kompetenceudvikling</a:t>
            </a:r>
            <a:endParaRPr lang="en-US" sz="1275">
              <a:cs typeface="Arial"/>
            </a:endParaRPr>
          </a:p>
          <a:p>
            <a:pPr marL="188595" indent="-171450">
              <a:lnSpc>
                <a:spcPct val="90000"/>
              </a:lnSpc>
              <a:spcAft>
                <a:spcPts val="450"/>
              </a:spcAft>
              <a:buFont typeface="Arial" panose="020B0604020202020204" pitchFamily="34" charset="0"/>
              <a:buChar char="•"/>
            </a:pPr>
            <a:endParaRPr lang="en-US" sz="1275">
              <a:cs typeface="Arial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E07A9E-01A5-4AC0-8E5F-36487E5F4F8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450"/>
              </a:spcAft>
            </a:pPr>
            <a:fld id="{FB3881AE-60C1-4E53-9537-937324C7E1CB}" type="datetime1">
              <a:rPr lang="en-GB">
                <a:latin typeface="Arial"/>
              </a:rPr>
              <a:pPr defTabSz="685800" fontAlgn="auto">
                <a:spcBef>
                  <a:spcPts val="0"/>
                </a:spcBef>
                <a:spcAft>
                  <a:spcPts val="450"/>
                </a:spcAft>
              </a:pPr>
              <a:t>12/09/2019</a:t>
            </a:fld>
            <a:endParaRPr lang="en-GB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41521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ABF18F2-E4F1-46F8-BFC6-940DEE6880C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Fremtidig </a:t>
            </a:r>
            <a:br>
              <a:rPr lang="da-DK" dirty="0"/>
            </a:br>
            <a:r>
              <a:rPr lang="da-DK" dirty="0"/>
              <a:t>organisering</a:t>
            </a:r>
            <a:br>
              <a:rPr lang="da-DK" dirty="0"/>
            </a:br>
            <a:endParaRPr lang="da-DK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B88E565-C35B-4245-8B03-6939095934F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68A226F2-299F-4196-9534-30AB50C29581}" type="datetime1">
              <a:rPr lang="en-GB"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2/09/2019</a:t>
            </a:fld>
            <a:endParaRPr lang="en-GB">
              <a:latin typeface="Arial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F49D1E-3F79-4674-B4EE-B662D3A4213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endParaRPr lang="en-GB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0BF662D-0436-439C-B917-EB5AD51D3A5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45D37B1E-C366-494F-A587-962AD9AABC83}" type="slidenum">
              <a:rPr lang="en-GB">
                <a:latin typeface="Arial"/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14</a:t>
            </a:fld>
            <a:endParaRPr lang="en-GB">
              <a:latin typeface="Arial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FB3CA248-8DF7-419E-9FC4-E1961A82A6F5}"/>
              </a:ext>
            </a:extLst>
          </p:cNvPr>
          <p:cNvGraphicFramePr/>
          <p:nvPr/>
        </p:nvGraphicFramePr>
        <p:xfrm>
          <a:off x="388620" y="1606631"/>
          <a:ext cx="8126730" cy="446481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cxnSp>
        <p:nvCxnSpPr>
          <p:cNvPr id="8" name="Lige forbindelse 7">
            <a:extLst>
              <a:ext uri="{FF2B5EF4-FFF2-40B4-BE49-F238E27FC236}">
                <a16:creationId xmlns:a16="http://schemas.microsoft.com/office/drawing/2014/main" id="{9909B6F6-8FFA-48CD-83AB-7BFADD4A0A42}"/>
              </a:ext>
            </a:extLst>
          </p:cNvPr>
          <p:cNvCxnSpPr/>
          <p:nvPr/>
        </p:nvCxnSpPr>
        <p:spPr>
          <a:xfrm>
            <a:off x="4507403" y="2381251"/>
            <a:ext cx="0" cy="110837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99815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ECCCDB2D-5156-D74F-A9AB-52B5891662CB}"/>
              </a:ext>
            </a:extLst>
          </p:cNvPr>
          <p:cNvSpPr txBox="1"/>
          <p:nvPr/>
        </p:nvSpPr>
        <p:spPr>
          <a:xfrm>
            <a:off x="899592" y="332656"/>
            <a:ext cx="71287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3200" dirty="0"/>
              <a:t>SDU/FKF og verdensmål</a:t>
            </a:r>
          </a:p>
        </p:txBody>
      </p:sp>
      <p:pic>
        <p:nvPicPr>
          <p:cNvPr id="96258" name="Picture 2">
            <a:extLst>
              <a:ext uri="{FF2B5EF4-FFF2-40B4-BE49-F238E27FC236}">
                <a16:creationId xmlns:a16="http://schemas.microsoft.com/office/drawing/2014/main" id="{DF9A56CC-9A75-D84D-9874-3EE3CD4B55F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73150"/>
            <a:ext cx="9144000" cy="4711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94483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F38FB74C-05B3-994A-95CC-38C506B63EDE}"/>
              </a:ext>
            </a:extLst>
          </p:cNvPr>
          <p:cNvSpPr/>
          <p:nvPr/>
        </p:nvSpPr>
        <p:spPr>
          <a:xfrm>
            <a:off x="179512" y="1412776"/>
            <a:ext cx="8496944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828040">
              <a:spcAft>
                <a:spcPts val="0"/>
              </a:spcAft>
            </a:pPr>
            <a:r>
              <a:rPr lang="da-DK" b="1" dirty="0">
                <a:solidFill>
                  <a:srgbClr val="000000"/>
                </a:solidFill>
                <a:latin typeface="Calibri" panose="020F0502020204030204" pitchFamily="34" charset="0"/>
              </a:rPr>
              <a:t>1) Globale Ressourcer</a:t>
            </a:r>
            <a:endParaRPr lang="da-DK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828040">
              <a:spcAft>
                <a:spcPts val="0"/>
              </a:spcAft>
            </a:pPr>
            <a:r>
              <a:rPr lang="da-DK" dirty="0">
                <a:solidFill>
                  <a:srgbClr val="000000"/>
                </a:solidFill>
                <a:latin typeface="Calibri" panose="020F0502020204030204" pitchFamily="34" charset="0"/>
              </a:rPr>
              <a:t>Denne uddannelse skal fokusere på globale stofcykler, grøn kemi og teknologi, miljøfremmede stoffer, miljømæssig forsvarlig kemikaliehåndtering og affaldshåndtering, rensning af spillevand, livscyklusvurdering af materialer samt grønne regnskaber og cirkulær økonomi. </a:t>
            </a:r>
          </a:p>
          <a:p>
            <a:pPr marL="828040">
              <a:spcAft>
                <a:spcPts val="0"/>
              </a:spcAft>
            </a:pPr>
            <a:endParaRPr lang="da-DK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828040" indent="635">
              <a:spcAft>
                <a:spcPts val="0"/>
              </a:spcAft>
            </a:pPr>
            <a:r>
              <a:rPr lang="da-DK" dirty="0">
                <a:solidFill>
                  <a:srgbClr val="000000"/>
                </a:solidFill>
                <a:latin typeface="Calibri" panose="020F0502020204030204" pitchFamily="34" charset="0"/>
              </a:rPr>
              <a:t>Uddannelsen funderes på NAT og først og fremmest i kemi-miljøet (Christine </a:t>
            </a:r>
            <a:r>
              <a:rPr lang="da-DK" dirty="0" err="1">
                <a:solidFill>
                  <a:srgbClr val="000000"/>
                </a:solidFill>
                <a:latin typeface="Calibri" panose="020F0502020204030204" pitchFamily="34" charset="0"/>
              </a:rPr>
              <a:t>McKenzie</a:t>
            </a:r>
            <a:r>
              <a:rPr lang="da-DK" dirty="0">
                <a:solidFill>
                  <a:srgbClr val="000000"/>
                </a:solidFill>
                <a:latin typeface="Calibri" panose="020F0502020204030204" pitchFamily="34" charset="0"/>
              </a:rPr>
              <a:t>, Dorthe Raunsbæk, Ulla G. Nielsen samt syntesekemisk sektion) med bidrag fra biologi (</a:t>
            </a:r>
            <a:r>
              <a:rPr lang="da-DK" dirty="0" err="1">
                <a:solidFill>
                  <a:srgbClr val="000000"/>
                </a:solidFill>
                <a:latin typeface="Calibri" panose="020F0502020204030204" pitchFamily="34" charset="0"/>
              </a:rPr>
              <a:t>NordCee</a:t>
            </a:r>
            <a:r>
              <a:rPr lang="da-DK" dirty="0">
                <a:solidFill>
                  <a:srgbClr val="000000"/>
                </a:solidFill>
                <a:latin typeface="Calibri" panose="020F0502020204030204" pitchFamily="34" charset="0"/>
              </a:rPr>
              <a:t>, Ronni Glud, Don </a:t>
            </a:r>
            <a:r>
              <a:rPr lang="da-DK" dirty="0" err="1">
                <a:solidFill>
                  <a:srgbClr val="000000"/>
                </a:solidFill>
                <a:latin typeface="Calibri" panose="020F0502020204030204" pitchFamily="34" charset="0"/>
              </a:rPr>
              <a:t>Canfield</a:t>
            </a:r>
            <a:r>
              <a:rPr lang="da-DK" dirty="0">
                <a:solidFill>
                  <a:srgbClr val="000000"/>
                </a:solidFill>
                <a:latin typeface="Calibri" panose="020F0502020204030204" pitchFamily="34" charset="0"/>
              </a:rPr>
              <a:t> – Toksikologi, Poul Bjerregaard, Henrik Holbeck) samt adjungeret prof. Minik Rosing. </a:t>
            </a:r>
          </a:p>
          <a:p>
            <a:pPr marL="828040" indent="635">
              <a:spcAft>
                <a:spcPts val="0"/>
              </a:spcAft>
            </a:pPr>
            <a:endParaRPr lang="da-DK" dirty="0">
              <a:solidFill>
                <a:srgbClr val="000000"/>
              </a:solidFill>
              <a:latin typeface="Calibri" panose="020F0502020204030204" pitchFamily="34" charset="0"/>
            </a:endParaRPr>
          </a:p>
          <a:p>
            <a:pPr marL="828040" indent="635">
              <a:spcAft>
                <a:spcPts val="0"/>
              </a:spcAft>
            </a:pPr>
            <a:r>
              <a:rPr lang="da-DK" dirty="0">
                <a:solidFill>
                  <a:srgbClr val="000000"/>
                </a:solidFill>
                <a:latin typeface="inherit"/>
              </a:rPr>
              <a:t>Uddannelsens sigte er først og fremmest </a:t>
            </a:r>
            <a:r>
              <a:rPr lang="da-DK" dirty="0">
                <a:solidFill>
                  <a:srgbClr val="070706"/>
                </a:solidFill>
                <a:latin typeface="inherit"/>
              </a:rPr>
              <a:t>verdensmål</a:t>
            </a:r>
            <a:r>
              <a:rPr lang="da-DK" dirty="0">
                <a:solidFill>
                  <a:srgbClr val="000000"/>
                </a:solidFill>
                <a:latin typeface="inherit"/>
              </a:rPr>
              <a:t> nr. 12 </a:t>
            </a:r>
            <a:r>
              <a:rPr lang="da-DK" i="1" dirty="0">
                <a:solidFill>
                  <a:srgbClr val="000000"/>
                </a:solidFill>
                <a:latin typeface="Calibri" panose="020F0502020204030204" pitchFamily="34" charset="0"/>
              </a:rPr>
              <a:t>Ansvarligt Forbrug og Produktion</a:t>
            </a:r>
            <a:r>
              <a:rPr lang="da-DK" dirty="0">
                <a:solidFill>
                  <a:srgbClr val="000000"/>
                </a:solidFill>
                <a:latin typeface="Calibri" panose="020F0502020204030204" pitchFamily="34" charset="0"/>
              </a:rPr>
              <a:t>, men understøtter også nr. 3, 6, 7, 13, 14 og 15.</a:t>
            </a:r>
            <a:endParaRPr lang="da-DK" sz="1800" b="0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ACFDE6D5-F951-5D4A-9556-8BF632E14368}"/>
              </a:ext>
            </a:extLst>
          </p:cNvPr>
          <p:cNvSpPr txBox="1"/>
          <p:nvPr/>
        </p:nvSpPr>
        <p:spPr>
          <a:xfrm>
            <a:off x="899592" y="260648"/>
            <a:ext cx="756084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/>
              <a:t>INITIATIVER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918B3DC6-2E9B-CC45-B65F-84153F2D394F}"/>
              </a:ext>
            </a:extLst>
          </p:cNvPr>
          <p:cNvSpPr txBox="1"/>
          <p:nvPr/>
        </p:nvSpPr>
        <p:spPr>
          <a:xfrm>
            <a:off x="1043608" y="722313"/>
            <a:ext cx="74168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Et årig kandidatuddannelse</a:t>
            </a:r>
          </a:p>
        </p:txBody>
      </p:sp>
    </p:spTree>
    <p:extLst>
      <p:ext uri="{BB962C8B-B14F-4D97-AF65-F5344CB8AC3E}">
        <p14:creationId xmlns:p14="http://schemas.microsoft.com/office/powerpoint/2010/main" val="179420557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2BCCE6A5-93A9-3749-9788-73A677839A4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29080"/>
            <a:ext cx="9144000" cy="3799840"/>
          </a:xfrm>
          <a:prstGeom prst="rect">
            <a:avLst/>
          </a:prstGeom>
        </p:spPr>
      </p:pic>
      <p:sp>
        <p:nvSpPr>
          <p:cNvPr id="4" name="Tekstfelt 3">
            <a:extLst>
              <a:ext uri="{FF2B5EF4-FFF2-40B4-BE49-F238E27FC236}">
                <a16:creationId xmlns:a16="http://schemas.microsoft.com/office/drawing/2014/main" id="{D25C9F3F-4FB8-BA45-81F9-C6642A368F29}"/>
              </a:ext>
            </a:extLst>
          </p:cNvPr>
          <p:cNvSpPr txBox="1"/>
          <p:nvPr/>
        </p:nvSpPr>
        <p:spPr>
          <a:xfrm>
            <a:off x="899592" y="476672"/>
            <a:ext cx="69847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2400" dirty="0"/>
              <a:t>Verdensmålsforum</a:t>
            </a:r>
          </a:p>
        </p:txBody>
      </p:sp>
    </p:spTree>
    <p:extLst>
      <p:ext uri="{BB962C8B-B14F-4D97-AF65-F5344CB8AC3E}">
        <p14:creationId xmlns:p14="http://schemas.microsoft.com/office/powerpoint/2010/main" val="41994522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117E94B6-10DF-B346-B6A6-9B3CA87A538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3528" y="0"/>
            <a:ext cx="8712968" cy="60485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8913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F9C03680-3AA2-4142-9BDD-47A0C979FC3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59027"/>
            <a:ext cx="9144000" cy="5539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26937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kstfelt 1">
            <a:extLst>
              <a:ext uri="{FF2B5EF4-FFF2-40B4-BE49-F238E27FC236}">
                <a16:creationId xmlns:a16="http://schemas.microsoft.com/office/drawing/2014/main" id="{94C99924-34B7-0B42-85C0-9C253E7DEAFA}"/>
              </a:ext>
            </a:extLst>
          </p:cNvPr>
          <p:cNvSpPr txBox="1"/>
          <p:nvPr/>
        </p:nvSpPr>
        <p:spPr>
          <a:xfrm>
            <a:off x="971600" y="332656"/>
            <a:ext cx="676875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800" dirty="0"/>
              <a:t>Ansøgninger til rektors strategiske pulje</a:t>
            </a:r>
          </a:p>
        </p:txBody>
      </p:sp>
      <p:sp>
        <p:nvSpPr>
          <p:cNvPr id="4" name="Tekstfelt 3">
            <a:extLst>
              <a:ext uri="{FF2B5EF4-FFF2-40B4-BE49-F238E27FC236}">
                <a16:creationId xmlns:a16="http://schemas.microsoft.com/office/drawing/2014/main" id="{586024FB-7968-BB4F-9124-F39559E2F0F0}"/>
              </a:ext>
            </a:extLst>
          </p:cNvPr>
          <p:cNvSpPr txBox="1"/>
          <p:nvPr/>
        </p:nvSpPr>
        <p:spPr>
          <a:xfrm>
            <a:off x="971600" y="1340768"/>
            <a:ext cx="7992888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DU – AIMS Initiative</a:t>
            </a:r>
            <a:endParaRPr lang="da-DK" dirty="0"/>
          </a:p>
          <a:p>
            <a:r>
              <a:rPr lang="en-US" dirty="0"/>
              <a:t>Strategic Dark Universe – African Institute for Mathematical Science Initiative</a:t>
            </a:r>
            <a:endParaRPr lang="da-DK" dirty="0"/>
          </a:p>
          <a:p>
            <a:endParaRPr lang="da-DK" dirty="0"/>
          </a:p>
          <a:p>
            <a:r>
              <a:rPr lang="da-DK" dirty="0"/>
              <a:t>NMR center til SDU og lokalområde</a:t>
            </a:r>
          </a:p>
          <a:p>
            <a:endParaRPr lang="da-DK" dirty="0"/>
          </a:p>
          <a:p>
            <a:r>
              <a:rPr lang="da-DK" dirty="0" err="1"/>
              <a:t>Hadron</a:t>
            </a:r>
            <a:r>
              <a:rPr lang="da-DK" dirty="0"/>
              <a:t> Engineering: From Fundamental </a:t>
            </a:r>
            <a:r>
              <a:rPr lang="da-DK" dirty="0" err="1"/>
              <a:t>Interactions</a:t>
            </a:r>
            <a:r>
              <a:rPr lang="da-DK" dirty="0"/>
              <a:t> to the Building Blocks of Life </a:t>
            </a:r>
          </a:p>
          <a:p>
            <a:endParaRPr lang="da-DK" dirty="0"/>
          </a:p>
          <a:p>
            <a:r>
              <a:rPr lang="da-DK" dirty="0"/>
              <a:t>Quantum </a:t>
            </a:r>
            <a:r>
              <a:rPr lang="da-DK" dirty="0" err="1"/>
              <a:t>Nanomaterials</a:t>
            </a:r>
            <a:r>
              <a:rPr lang="da-DK" dirty="0"/>
              <a:t> for a </a:t>
            </a:r>
            <a:r>
              <a:rPr lang="da-DK" dirty="0" err="1"/>
              <a:t>Sustainable</a:t>
            </a:r>
            <a:r>
              <a:rPr lang="da-DK" dirty="0"/>
              <a:t> Future (</a:t>
            </a:r>
            <a:r>
              <a:rPr lang="da-DK" dirty="0" err="1"/>
              <a:t>QuaNano</a:t>
            </a:r>
            <a:r>
              <a:rPr lang="da-DK" dirty="0"/>
              <a:t>)</a:t>
            </a:r>
          </a:p>
          <a:p>
            <a:endParaRPr lang="da-DK" dirty="0"/>
          </a:p>
          <a:p>
            <a:r>
              <a:rPr lang="da-DK" dirty="0" err="1"/>
              <a:t>Deorphanization</a:t>
            </a:r>
            <a:r>
              <a:rPr lang="da-DK" dirty="0"/>
              <a:t> of drug transporters (DDT): </a:t>
            </a:r>
            <a:r>
              <a:rPr lang="da-DK" dirty="0" err="1"/>
              <a:t>Implications</a:t>
            </a:r>
            <a:r>
              <a:rPr lang="da-DK" dirty="0"/>
              <a:t> for </a:t>
            </a:r>
            <a:r>
              <a:rPr lang="da-DK" dirty="0" err="1"/>
              <a:t>pharmaceuti</a:t>
            </a:r>
            <a:r>
              <a:rPr lang="da-DK" dirty="0"/>
              <a:t>- </a:t>
            </a:r>
            <a:r>
              <a:rPr lang="da-DK" dirty="0" err="1"/>
              <a:t>cal</a:t>
            </a:r>
            <a:r>
              <a:rPr lang="da-DK" dirty="0"/>
              <a:t> and </a:t>
            </a:r>
            <a:r>
              <a:rPr lang="da-DK" dirty="0" err="1"/>
              <a:t>pharmacological</a:t>
            </a:r>
            <a:r>
              <a:rPr lang="da-DK" dirty="0"/>
              <a:t> </a:t>
            </a:r>
            <a:r>
              <a:rPr lang="da-DK" dirty="0" err="1"/>
              <a:t>sciences</a:t>
            </a:r>
            <a:r>
              <a:rPr lang="da-DK" dirty="0"/>
              <a:t> </a:t>
            </a:r>
          </a:p>
          <a:p>
            <a:endParaRPr lang="da-DK" dirty="0"/>
          </a:p>
          <a:p>
            <a:r>
              <a:rPr lang="da-DK" dirty="0" err="1"/>
              <a:t>Boost</a:t>
            </a:r>
            <a:r>
              <a:rPr lang="da-DK" dirty="0"/>
              <a:t> the Return on Investment – SDU Patent EP 3221687</a:t>
            </a:r>
          </a:p>
          <a:p>
            <a:r>
              <a:rPr lang="da-DK" dirty="0" err="1"/>
              <a:t>Reduce</a:t>
            </a:r>
            <a:r>
              <a:rPr lang="da-DK" dirty="0"/>
              <a:t> the </a:t>
            </a:r>
            <a:r>
              <a:rPr lang="da-DK" dirty="0" err="1"/>
              <a:t>use</a:t>
            </a:r>
            <a:r>
              <a:rPr lang="da-DK" dirty="0"/>
              <a:t> of </a:t>
            </a:r>
            <a:r>
              <a:rPr lang="da-DK" dirty="0" err="1"/>
              <a:t>animals</a:t>
            </a:r>
            <a:r>
              <a:rPr lang="da-DK" dirty="0"/>
              <a:t> in drug </a:t>
            </a:r>
            <a:r>
              <a:rPr lang="da-DK" dirty="0" err="1"/>
              <a:t>development</a:t>
            </a:r>
            <a:r>
              <a:rPr lang="da-DK" dirty="0"/>
              <a:t> by </a:t>
            </a:r>
            <a:r>
              <a:rPr lang="da-DK" dirty="0" err="1"/>
              <a:t>patented</a:t>
            </a:r>
            <a:r>
              <a:rPr lang="da-DK" dirty="0"/>
              <a:t> </a:t>
            </a:r>
            <a:r>
              <a:rPr lang="da-DK" dirty="0" err="1"/>
              <a:t>permeability</a:t>
            </a:r>
            <a:r>
              <a:rPr lang="da-DK" dirty="0"/>
              <a:t> </a:t>
            </a:r>
            <a:r>
              <a:rPr lang="da-DK" dirty="0" err="1"/>
              <a:t>device</a:t>
            </a:r>
            <a:r>
              <a:rPr lang="da-DK"/>
              <a:t>.</a:t>
            </a:r>
          </a:p>
          <a:p>
            <a:endParaRPr lang="da-DK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2409868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5FB6E561-9C2E-A942-B018-D7FFB8F5CF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32656"/>
            <a:ext cx="9144000" cy="5603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76025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53A019A1-84BB-0D4F-A402-6930529F2B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9952"/>
            <a:ext cx="9144000" cy="557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6242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B0BC31F5-B580-8740-8D4E-208D86F2AF8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46408"/>
            <a:ext cx="9144000" cy="5565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5827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D4552-A997-AC47-973B-16AA99BA6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pPr algn="ctr"/>
            <a:r>
              <a:rPr lang="da-DK" sz="3200" b="0" dirty="0"/>
              <a:t>FKF Institutrådsmøde 12/9-2019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8EDE6A9D-1883-5E4D-80DC-7C99C9E684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13178"/>
            <a:ext cx="9144000" cy="48316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55439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D34337-0843-D745-99F1-9A808F23C4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/>
          <a:lstStyle/>
          <a:p>
            <a:r>
              <a:rPr lang="da-DK" dirty="0"/>
              <a:t>Budgetoversigt FKF per 08-2019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9C9192EE-8CAE-894B-A478-D2A8A05CB1A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44422"/>
            <a:ext cx="9144000" cy="456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419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NTAINEDIMAGEPATH" val="C:\Users\holmer\AppData\Local\Temp\2\Templafy\PowerPointVsto\Assets\b314383f-d882-4de0-ae1f-4a03f98113d5.jpeg"/>
</p:tagLst>
</file>

<file path=ppt/theme/theme1.xml><?xml version="1.0" encoding="utf-8"?>
<a:theme xmlns:a="http://schemas.openxmlformats.org/drawingml/2006/main" name="template FKF logo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lassisk kontor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SDU">
      <a:dk1>
        <a:srgbClr val="000000"/>
      </a:dk1>
      <a:lt1>
        <a:srgbClr val="FFFFFF"/>
      </a:lt1>
      <a:dk2>
        <a:srgbClr val="7A6040"/>
      </a:dk2>
      <a:lt2>
        <a:srgbClr val="DDCBA4"/>
      </a:lt2>
      <a:accent1>
        <a:srgbClr val="AEB862"/>
      </a:accent1>
      <a:accent2>
        <a:srgbClr val="789D4A"/>
      </a:accent2>
      <a:accent3>
        <a:srgbClr val="F2C75C"/>
      </a:accent3>
      <a:accent4>
        <a:srgbClr val="E07E3C"/>
      </a:accent4>
      <a:accent5>
        <a:srgbClr val="E1BBB4"/>
      </a:accent5>
      <a:accent6>
        <a:srgbClr val="D05A57"/>
      </a:accent6>
      <a:hlink>
        <a:srgbClr val="0563C1"/>
      </a:hlink>
      <a:folHlink>
        <a:srgbClr val="954F72"/>
      </a:folHlink>
    </a:clrScheme>
    <a:fontScheme name="SDU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solidFill>
            <a:schemeClr val="accent1"/>
          </a:solidFill>
        </a:ln>
      </a:spPr>
      <a:bodyPr lIns="72000" tIns="72000" rIns="72000" bIns="72000" rtlCol="0" anchor="ctr"/>
      <a:lstStyle>
        <a:defPPr algn="ctr">
          <a:defRPr sz="1600" dirty="0" err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600" dirty="0" err="1"/>
        </a:defPPr>
      </a:lstStyle>
    </a:txDef>
  </a:objectDefaults>
  <a:extraClrSchemeLst/>
  <a:custClrLst>
    <a:custClr name="Grøn 1">
      <a:srgbClr val="4E5B31"/>
    </a:custClr>
    <a:custClr name="Grøn 2">
      <a:srgbClr val="789D4A"/>
    </a:custClr>
    <a:custClr name="Grøn 3">
      <a:srgbClr val="AEB862"/>
    </a:custClr>
    <a:custClr name="Grøn 4">
      <a:srgbClr val="EAE7B9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Orange 1">
      <a:srgbClr val="D38235"/>
    </a:custClr>
    <a:custClr name="Orange 2">
      <a:srgbClr val="E0A526"/>
    </a:custClr>
    <a:custClr name="Orange 3">
      <a:srgbClr val="EED484"/>
    </a:custClr>
    <a:custClr name="Orange 4">
      <a:srgbClr val="FCF0C4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Rød 1">
      <a:srgbClr val="862633"/>
    </a:custClr>
    <a:custClr name="Rød 2">
      <a:srgbClr val="D05A57"/>
    </a:custClr>
    <a:custClr name="Rød 3">
      <a:srgbClr val="E1BBB4"/>
    </a:custClr>
    <a:custClr name="Rød 4">
      <a:srgbClr val="F4E2DE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Brun 1">
      <a:srgbClr val="473729"/>
    </a:custClr>
    <a:custClr name="Brun 2">
      <a:srgbClr val="946037"/>
    </a:custClr>
    <a:custClr name="Brun 3">
      <a:srgbClr val="DDCBA4"/>
    </a:custClr>
    <a:custClr name="Brun 4">
      <a:srgbClr val="EFE5D1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Color has no name">
      <a:srgbClr val="FFFFFF"/>
    </a:custClr>
    <a:custClr name="Sort">
      <a:srgbClr val="000000"/>
    </a:custClr>
    <a:custClr name="Hvid">
      <a:srgbClr val="FFFFFF"/>
    </a:custClr>
  </a:custClrLst>
  <a:extLst>
    <a:ext uri="{05A4C25C-085E-4340-85A3-A5531E510DB2}">
      <thm15:themeFamily xmlns:thm15="http://schemas.microsoft.com/office/thememl/2012/main" name="SDU widescreen.potx" id="{1C4F8E8D-0334-4267-96F7-9CAC143C1229}" vid="{6887ADA9-E5D5-4F4B-ACE2-43240691910A}"/>
    </a:ext>
  </a:extLst>
</a:theme>
</file>

<file path=ppt/theme/theme3.xml><?xml version="1.0" encoding="utf-8"?>
<a:theme xmlns:a="http://schemas.openxmlformats.org/drawingml/2006/main" name="Kontor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849</TotalTime>
  <Words>267</Words>
  <Application>Microsoft Macintosh PowerPoint</Application>
  <PresentationFormat>Skærmshow (4:3)</PresentationFormat>
  <Paragraphs>84</Paragraphs>
  <Slides>17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2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7</vt:i4>
      </vt:variant>
    </vt:vector>
  </HeadingPairs>
  <TitlesOfParts>
    <vt:vector size="25" baseType="lpstr">
      <vt:lpstr>Arial</vt:lpstr>
      <vt:lpstr>Calibri</vt:lpstr>
      <vt:lpstr>Gill Sans MT</vt:lpstr>
      <vt:lpstr>inherit</vt:lpstr>
      <vt:lpstr>Wingdings</vt:lpstr>
      <vt:lpstr>template FKF logo</vt:lpstr>
      <vt:lpstr>Blank</vt:lpstr>
      <vt:lpstr>think-cell Slide</vt:lpstr>
      <vt:lpstr>FKF Institutrådsmøde 12/9-2019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FKF Institutrådsmøde 12/9-2019</vt:lpstr>
      <vt:lpstr>Budgetoversigt FKF per 08-2019</vt:lpstr>
      <vt:lpstr>FKF Institutrådsmøde 12/9-2019</vt:lpstr>
      <vt:lpstr>Organisations-forandring NAT</vt:lpstr>
      <vt:lpstr>Samskabelse – et værktøj til at skabe en sammenhængende organisation</vt:lpstr>
      <vt:lpstr>Hvordan får vi mere samskabelse?</vt:lpstr>
      <vt:lpstr>Fremtidig  organisering </vt:lpstr>
      <vt:lpstr>PowerPoint-præsentation</vt:lpstr>
      <vt:lpstr>PowerPoint-præsentation</vt:lpstr>
      <vt:lpstr>PowerPoint-præsentation</vt:lpstr>
    </vt:vector>
  </TitlesOfParts>
  <Company>SDU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s nummer 1</dc:title>
  <dc:creator>Poul Nielsen</dc:creator>
  <cp:lastModifiedBy>Frants Roager Lauritsen</cp:lastModifiedBy>
  <cp:revision>376</cp:revision>
  <cp:lastPrinted>2018-08-14T18:17:51Z</cp:lastPrinted>
  <dcterms:created xsi:type="dcterms:W3CDTF">2007-03-07T12:32:25Z</dcterms:created>
  <dcterms:modified xsi:type="dcterms:W3CDTF">2019-09-12T13:48:00Z</dcterms:modified>
</cp:coreProperties>
</file>